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51" r:id="rId5"/>
  </p:sldMasterIdLst>
  <p:notesMasterIdLst>
    <p:notesMasterId r:id="rId19"/>
  </p:notesMasterIdLst>
  <p:sldIdLst>
    <p:sldId id="256" r:id="rId6"/>
    <p:sldId id="2147483647" r:id="rId7"/>
    <p:sldId id="590" r:id="rId8"/>
    <p:sldId id="258" r:id="rId9"/>
    <p:sldId id="262" r:id="rId10"/>
    <p:sldId id="292" r:id="rId11"/>
    <p:sldId id="261" r:id="rId12"/>
    <p:sldId id="259" r:id="rId13"/>
    <p:sldId id="2147483428" r:id="rId14"/>
    <p:sldId id="2147483601" r:id="rId15"/>
    <p:sldId id="2147483418" r:id="rId16"/>
    <p:sldId id="257" r:id="rId17"/>
    <p:sldId id="337" r:id="rId18"/>
  </p:sldIdLst>
  <p:sldSz cx="12192000" cy="6858000"/>
  <p:notesSz cx="9144000" cy="6858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85BC18-3ED8-9FAC-B7F6-D02C4069ABCC}" name="Anne Buff" initials="AB" userId="S::ABuff@CAQH.ORG::57e2a2de-7ebb-40ea-8dae-c2caf339e129" providerId="AD"/>
  <p188:author id="{2183752E-37EF-DB2C-EDAA-571A7BC78B24}" name="Carolyn McKinney" initials="CM" userId="S::cmckinney@caqh.org::db2e0efc-c6f1-4be0-b96b-4df492f79a2a" providerId="AD"/>
  <p188:author id="{E410A541-C52E-E8EE-F9CE-10EE64EC91C9}" name="Roger Matanich" initials="RM" userId="S::RMatanich@CAQH.ORG::bb30a5ed-ce0b-4a27-87ff-f1665b351947" providerId="AD"/>
  <p188:author id="{A5124144-5B36-5D9E-CF3A-0FB5C72310FF}" name="Anne Buff" initials="" userId="S::ABuff@caqh.org::57e2a2de-7ebb-40ea-8dae-c2caf339e129" providerId="AD"/>
  <p188:author id="{CC28BF4A-0DF4-CF1C-8D75-3A2836C94EFF}" name="Tracy McKinley" initials="TM" userId="3ede118ca1a2f697" providerId="Windows Live"/>
  <p188:author id="{5B12F358-10AB-338A-99EF-2C7FE4A2A630}" name="Sarah Sweeney" initials="SS" userId="S::SSweeney@CAQH.ORG::2d812dff-82c9-429a-839c-4ace223f142d" providerId="AD"/>
  <p188:author id="{4AB09E5C-47F7-6EC1-CA62-656D42B886A6}" name="Kim Koebel" initials="KK" userId="S::KKoebel@CAQH.ORG::f576aec1-07d5-431d-bf1e-86d62f376990" providerId="AD"/>
  <p188:author id="{D0D84264-1185-E5DA-9D8F-F8054600D4D7}" name="Sarah Ahmad" initials="SA" userId="S::SAhmad@CAQH.ORG::85c502fc-9614-4671-b0ea-a881c736509b" providerId="AD"/>
  <p188:author id="{EC149880-2313-7D6C-FCE5-54AE42FB4EF7}" name="Sarah Sweeney" initials="SS" userId="S::ssweeney@caqh.org::2d812dff-82c9-429a-839c-4ace223f142d" providerId="AD"/>
  <p188:author id="{B3C0BC80-F357-ADE0-3646-7ADF64220099}" name="Elizabeth Walden" initials="EW" userId="S::ewalden@caqh.org::02762efb-5c7f-4dae-8175-32e51499bd51" providerId="AD"/>
  <p188:author id="{A0CD9C98-819F-AAD6-CB12-48ABDB93E6AA}" name="Neil Offner" initials="NO" userId="S::noffner@caqh.org::e87108cf-dda6-4671-9195-7dd879c28b73" providerId="AD"/>
  <p188:author id="{478F929C-24DA-4154-1C12-998D07720FCF}" name="Brandon Parker" initials="BP" userId="S::bparker@caqh.org::f24c9707-a994-46e8-b06e-5c6c47be38f4" providerId="AD"/>
  <p188:author id="{97AD39A3-FAC6-46F2-F5BB-E5A62C3E1030}" name="David Colón-Margolies" initials="DC" userId="S::dcolonmargolies@caqh.org::3f346d75-75f9-4a99-9fea-d16ea1b50907" providerId="AD"/>
  <p188:author id="{9753FBA9-9329-EBEE-7E0B-0D3F50AF86BC}" name="David Colón-Margolies" initials="DC" userId="S::DColonMargolies@CAQH.ORG::3f346d75-75f9-4a99-9fea-d16ea1b50907" providerId="AD"/>
  <p188:author id="{C2E36BB3-26EA-78BD-A7D4-CE5C538B8A67}" name="Jennifer Lux" initials="JL" userId="S::JLux@CAQH.ORG::68deb4ee-ab23-4fb3-87ce-458f48719782" providerId="AD"/>
  <p188:author id="{E8345FB5-282A-1B59-FD0A-464CC66B94A8}" name="Elizabeth Walden" initials="EW" userId="S::EWalden@CAQH.ORG::02762efb-5c7f-4dae-8175-32e51499bd51" providerId="AD"/>
  <p188:author id="{05FF20C8-6FF8-9DBB-8991-5895146B56FF}" name="Laura Batista" initials="LB" userId="S::LBatista@CAQH.ORG::cea79e31-2e5f-477c-9391-54c472d80344" providerId="AD"/>
  <p188:author id="{F06D20C9-1431-CDA1-58CC-306727CFC929}" name="Tyler Ford" initials="TF" userId="S::TFord@CAQH.ORG::84a014dc-7c29-49e8-b8e8-3ee3300bbfc8" providerId="AD"/>
  <p188:author id="{0C824EC9-0C6B-57BA-87F9-B8A06CDD4C5D}" name="Kristina Rollings" initials="KR" userId="S::krollings@CAQH.ORG::9bd82b26-77a3-4e42-b54a-e452741a4439" providerId="AD"/>
  <p188:author id="{EB712FCB-3DA2-8FF0-F687-21DBD0D55B9A}" name="Kristina Rollings" initials="KR" userId="S::krollings@caqh.org::9bd82b26-77a3-4e42-b54a-e452741a4439" providerId="AD"/>
  <p188:author id="{E8D94BCC-5815-7848-C4F3-CF0EF39ED328}" name="Kelly Rose" initials="KR" userId="S::krose@CAQH.ORG::13db2fbf-c59f-4b78-a8c1-08c2217851b6" providerId="AD"/>
  <p188:author id="{FF06D0EA-8A19-5AB9-6DC5-B3E6D057414C}" name="Scott Everline" initials="SE" userId="S::severline@caqh.org::73909ba0-c471-4573-a782-de819645aad5" providerId="AD"/>
  <p188:author id="{938D19ED-408B-6C74-9885-9E8E0D7FAE25}" name="Elizabeth Nazerian" initials="" userId="S::enazerian@CAQH.ORG::84f9d2b5-f494-42ff-a7db-7a9c415f8b34" providerId="AD"/>
  <p188:author id="{EFF985FB-22B1-491A-2A8F-A3A734180409}" name="Kelly Rose" initials="KR" userId="S::krose@caqh.org::13db2fbf-c59f-4b78-a8c1-08c2217851b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5091"/>
    <a:srgbClr val="00A6E0"/>
    <a:srgbClr val="62C6A5"/>
    <a:srgbClr val="0072CD"/>
    <a:srgbClr val="3E418C"/>
    <a:srgbClr val="D9D9D9"/>
    <a:srgbClr val="323E48"/>
    <a:srgbClr val="018577"/>
    <a:srgbClr val="CBD0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AA8F99-2C36-4F2B-A69F-AA68C4C736A7}" v="41" dt="2024-12-09T22:41:12.3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324" autoAdjust="0"/>
  </p:normalViewPr>
  <p:slideViewPr>
    <p:cSldViewPr snapToGrid="0">
      <p:cViewPr varScale="1">
        <p:scale>
          <a:sx n="108" d="100"/>
          <a:sy n="108" d="100"/>
        </p:scale>
        <p:origin x="642" y="102"/>
      </p:cViewPr>
      <p:guideLst/>
    </p:cSldViewPr>
  </p:slideViewPr>
  <p:notesTextViewPr>
    <p:cViewPr>
      <p:scale>
        <a:sx n="3" d="2"/>
        <a:sy n="3" d="2"/>
      </p:scale>
      <p:origin x="0" y="0"/>
    </p:cViewPr>
  </p:notesTextViewPr>
  <p:sorterViewPr>
    <p:cViewPr>
      <p:scale>
        <a:sx n="130" d="100"/>
        <a:sy n="130" d="100"/>
      </p:scale>
      <p:origin x="0" y="0"/>
    </p:cViewPr>
  </p:sorterViewPr>
  <p:notesViewPr>
    <p:cSldViewPr snapToGrid="0">
      <p:cViewPr varScale="1">
        <p:scale>
          <a:sx n="112" d="100"/>
          <a:sy n="112" d="100"/>
        </p:scale>
        <p:origin x="250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Lux" userId="68deb4ee-ab23-4fb3-87ce-458f48719782" providerId="ADAL" clId="{DDAA8F99-2C36-4F2B-A69F-AA68C4C736A7}"/>
    <pc:docChg chg="undo custSel addSld delSld modSld sldOrd">
      <pc:chgData name="Jennifer Lux" userId="68deb4ee-ab23-4fb3-87ce-458f48719782" providerId="ADAL" clId="{DDAA8F99-2C36-4F2B-A69F-AA68C4C736A7}" dt="2024-12-09T22:58:49.171" v="618" actId="1035"/>
      <pc:docMkLst>
        <pc:docMk/>
      </pc:docMkLst>
      <pc:sldChg chg="add ord">
        <pc:chgData name="Jennifer Lux" userId="68deb4ee-ab23-4fb3-87ce-458f48719782" providerId="ADAL" clId="{DDAA8F99-2C36-4F2B-A69F-AA68C4C736A7}" dt="2024-12-06T21:27:34.423" v="3"/>
        <pc:sldMkLst>
          <pc:docMk/>
          <pc:sldMk cId="2063260601" sldId="257"/>
        </pc:sldMkLst>
      </pc:sldChg>
      <pc:sldChg chg="modSp mod">
        <pc:chgData name="Jennifer Lux" userId="68deb4ee-ab23-4fb3-87ce-458f48719782" providerId="ADAL" clId="{DDAA8F99-2C36-4F2B-A69F-AA68C4C736A7}" dt="2024-12-09T19:21:24.763" v="11" actId="114"/>
        <pc:sldMkLst>
          <pc:docMk/>
          <pc:sldMk cId="1002693303" sldId="258"/>
        </pc:sldMkLst>
        <pc:spChg chg="mod">
          <ac:chgData name="Jennifer Lux" userId="68deb4ee-ab23-4fb3-87ce-458f48719782" providerId="ADAL" clId="{DDAA8F99-2C36-4F2B-A69F-AA68C4C736A7}" dt="2024-12-09T19:21:24.763" v="11" actId="114"/>
          <ac:spMkLst>
            <pc:docMk/>
            <pc:sldMk cId="1002693303" sldId="258"/>
            <ac:spMk id="6" creationId="{DF266619-9033-1530-4533-E3894F36CDBB}"/>
          </ac:spMkLst>
        </pc:spChg>
      </pc:sldChg>
      <pc:sldChg chg="add del">
        <pc:chgData name="Jennifer Lux" userId="68deb4ee-ab23-4fb3-87ce-458f48719782" providerId="ADAL" clId="{DDAA8F99-2C36-4F2B-A69F-AA68C4C736A7}" dt="2024-12-09T22:27:43.240" v="13" actId="2696"/>
        <pc:sldMkLst>
          <pc:docMk/>
          <pc:sldMk cId="1372901689" sldId="260"/>
        </pc:sldMkLst>
      </pc:sldChg>
      <pc:sldChg chg="addSp modSp add del mod">
        <pc:chgData name="Jennifer Lux" userId="68deb4ee-ab23-4fb3-87ce-458f48719782" providerId="ADAL" clId="{DDAA8F99-2C36-4F2B-A69F-AA68C4C736A7}" dt="2024-12-09T22:46:22.161" v="571" actId="2696"/>
        <pc:sldMkLst>
          <pc:docMk/>
          <pc:sldMk cId="2872784715" sldId="260"/>
        </pc:sldMkLst>
        <pc:spChg chg="mod">
          <ac:chgData name="Jennifer Lux" userId="68deb4ee-ab23-4fb3-87ce-458f48719782" providerId="ADAL" clId="{DDAA8F99-2C36-4F2B-A69F-AA68C4C736A7}" dt="2024-12-09T22:28:53.659" v="33" actId="1076"/>
          <ac:spMkLst>
            <pc:docMk/>
            <pc:sldMk cId="2872784715" sldId="260"/>
            <ac:spMk id="3" creationId="{16BA5A76-C0B7-9946-6D32-5E73C6B96423}"/>
          </ac:spMkLst>
        </pc:spChg>
        <pc:spChg chg="add mod">
          <ac:chgData name="Jennifer Lux" userId="68deb4ee-ab23-4fb3-87ce-458f48719782" providerId="ADAL" clId="{DDAA8F99-2C36-4F2B-A69F-AA68C4C736A7}" dt="2024-12-09T22:31:37.442" v="153" actId="14100"/>
          <ac:spMkLst>
            <pc:docMk/>
            <pc:sldMk cId="2872784715" sldId="260"/>
            <ac:spMk id="4" creationId="{E080D5B3-D2D1-A568-2F60-4D8338C506DA}"/>
          </ac:spMkLst>
        </pc:spChg>
        <pc:spChg chg="mod">
          <ac:chgData name="Jennifer Lux" userId="68deb4ee-ab23-4fb3-87ce-458f48719782" providerId="ADAL" clId="{DDAA8F99-2C36-4F2B-A69F-AA68C4C736A7}" dt="2024-12-09T22:28:50.750" v="32" actId="114"/>
          <ac:spMkLst>
            <pc:docMk/>
            <pc:sldMk cId="2872784715" sldId="260"/>
            <ac:spMk id="27" creationId="{D54F12FC-014D-6D92-894A-B65185245332}"/>
          </ac:spMkLst>
        </pc:spChg>
        <pc:spChg chg="mod">
          <ac:chgData name="Jennifer Lux" userId="68deb4ee-ab23-4fb3-87ce-458f48719782" providerId="ADAL" clId="{DDAA8F99-2C36-4F2B-A69F-AA68C4C736A7}" dt="2024-12-09T22:31:39.886" v="156" actId="20577"/>
          <ac:spMkLst>
            <pc:docMk/>
            <pc:sldMk cId="2872784715" sldId="260"/>
            <ac:spMk id="32" creationId="{EBAEDB53-2C63-23C2-42D1-82FC3F578B2A}"/>
          </ac:spMkLst>
        </pc:spChg>
        <pc:spChg chg="mod">
          <ac:chgData name="Jennifer Lux" userId="68deb4ee-ab23-4fb3-87ce-458f48719782" providerId="ADAL" clId="{DDAA8F99-2C36-4F2B-A69F-AA68C4C736A7}" dt="2024-12-09T22:31:17.175" v="144" actId="20577"/>
          <ac:spMkLst>
            <pc:docMk/>
            <pc:sldMk cId="2872784715" sldId="260"/>
            <ac:spMk id="33" creationId="{B62C4CDE-2FE3-9EBA-A73D-3721E3230199}"/>
          </ac:spMkLst>
        </pc:spChg>
      </pc:sldChg>
      <pc:sldChg chg="modSp mod">
        <pc:chgData name="Jennifer Lux" userId="68deb4ee-ab23-4fb3-87ce-458f48719782" providerId="ADAL" clId="{DDAA8F99-2C36-4F2B-A69F-AA68C4C736A7}" dt="2024-12-09T22:41:08.928" v="436" actId="1076"/>
        <pc:sldMkLst>
          <pc:docMk/>
          <pc:sldMk cId="3655718108" sldId="261"/>
        </pc:sldMkLst>
        <pc:spChg chg="mod">
          <ac:chgData name="Jennifer Lux" userId="68deb4ee-ab23-4fb3-87ce-458f48719782" providerId="ADAL" clId="{DDAA8F99-2C36-4F2B-A69F-AA68C4C736A7}" dt="2024-12-09T22:41:08.928" v="436" actId="1076"/>
          <ac:spMkLst>
            <pc:docMk/>
            <pc:sldMk cId="3655718108" sldId="261"/>
            <ac:spMk id="6" creationId="{8BDB1B79-7321-22FE-71A8-5C31899407D0}"/>
          </ac:spMkLst>
        </pc:spChg>
      </pc:sldChg>
      <pc:sldChg chg="del">
        <pc:chgData name="Jennifer Lux" userId="68deb4ee-ab23-4fb3-87ce-458f48719782" providerId="ADAL" clId="{DDAA8F99-2C36-4F2B-A69F-AA68C4C736A7}" dt="2024-12-06T21:27:33.144" v="1" actId="2696"/>
        <pc:sldMkLst>
          <pc:docMk/>
          <pc:sldMk cId="3500584878" sldId="333"/>
        </pc:sldMkLst>
      </pc:sldChg>
      <pc:sldChg chg="addSp delSp modSp mod modNotesTx">
        <pc:chgData name="Jennifer Lux" userId="68deb4ee-ab23-4fb3-87ce-458f48719782" providerId="ADAL" clId="{DDAA8F99-2C36-4F2B-A69F-AA68C4C736A7}" dt="2024-12-09T22:58:49.171" v="618" actId="1035"/>
        <pc:sldMkLst>
          <pc:docMk/>
          <pc:sldMk cId="2273120146" sldId="590"/>
        </pc:sldMkLst>
        <pc:spChg chg="mod">
          <ac:chgData name="Jennifer Lux" userId="68deb4ee-ab23-4fb3-87ce-458f48719782" providerId="ADAL" clId="{DDAA8F99-2C36-4F2B-A69F-AA68C4C736A7}" dt="2024-12-09T22:58:35.914" v="614" actId="20577"/>
          <ac:spMkLst>
            <pc:docMk/>
            <pc:sldMk cId="2273120146" sldId="590"/>
            <ac:spMk id="3" creationId="{16BA5A76-C0B7-9946-6D32-5E73C6B96423}"/>
          </ac:spMkLst>
        </pc:spChg>
        <pc:spChg chg="mod">
          <ac:chgData name="Jennifer Lux" userId="68deb4ee-ab23-4fb3-87ce-458f48719782" providerId="ADAL" clId="{DDAA8F99-2C36-4F2B-A69F-AA68C4C736A7}" dt="2024-12-09T22:57:53.515" v="593" actId="947"/>
          <ac:spMkLst>
            <pc:docMk/>
            <pc:sldMk cId="2273120146" sldId="590"/>
            <ac:spMk id="4" creationId="{4293687A-299E-8FCF-5BA2-4DBDF4313DE7}"/>
          </ac:spMkLst>
        </pc:spChg>
        <pc:spChg chg="mod">
          <ac:chgData name="Jennifer Lux" userId="68deb4ee-ab23-4fb3-87ce-458f48719782" providerId="ADAL" clId="{DDAA8F99-2C36-4F2B-A69F-AA68C4C736A7}" dt="2024-12-09T22:58:30.619" v="611" actId="20577"/>
          <ac:spMkLst>
            <pc:docMk/>
            <pc:sldMk cId="2273120146" sldId="590"/>
            <ac:spMk id="5" creationId="{07F7496D-EB25-6482-C1E8-F7A07F79A4A6}"/>
          </ac:spMkLst>
        </pc:spChg>
        <pc:spChg chg="mod">
          <ac:chgData name="Jennifer Lux" userId="68deb4ee-ab23-4fb3-87ce-458f48719782" providerId="ADAL" clId="{DDAA8F99-2C36-4F2B-A69F-AA68C4C736A7}" dt="2024-12-09T22:58:14.140" v="605" actId="20577"/>
          <ac:spMkLst>
            <pc:docMk/>
            <pc:sldMk cId="2273120146" sldId="590"/>
            <ac:spMk id="14" creationId="{1376D050-C72B-28CB-9B23-9AF39DB08B7E}"/>
          </ac:spMkLst>
        </pc:spChg>
        <pc:spChg chg="mod">
          <ac:chgData name="Jennifer Lux" userId="68deb4ee-ab23-4fb3-87ce-458f48719782" providerId="ADAL" clId="{DDAA8F99-2C36-4F2B-A69F-AA68C4C736A7}" dt="2024-12-09T22:58:41.030" v="615" actId="552"/>
          <ac:spMkLst>
            <pc:docMk/>
            <pc:sldMk cId="2273120146" sldId="590"/>
            <ac:spMk id="15" creationId="{BE009773-EA30-A25E-2C67-90D65BE6D04F}"/>
          </ac:spMkLst>
        </pc:spChg>
        <pc:spChg chg="mod">
          <ac:chgData name="Jennifer Lux" userId="68deb4ee-ab23-4fb3-87ce-458f48719782" providerId="ADAL" clId="{DDAA8F99-2C36-4F2B-A69F-AA68C4C736A7}" dt="2024-12-09T22:58:22.535" v="609" actId="20577"/>
          <ac:spMkLst>
            <pc:docMk/>
            <pc:sldMk cId="2273120146" sldId="590"/>
            <ac:spMk id="16" creationId="{9FF3CBDA-66F7-68B9-5267-9224B6855847}"/>
          </ac:spMkLst>
        </pc:spChg>
        <pc:spChg chg="del">
          <ac:chgData name="Jennifer Lux" userId="68deb4ee-ab23-4fb3-87ce-458f48719782" providerId="ADAL" clId="{DDAA8F99-2C36-4F2B-A69F-AA68C4C736A7}" dt="2024-12-09T22:29:32.544" v="41" actId="478"/>
          <ac:spMkLst>
            <pc:docMk/>
            <pc:sldMk cId="2273120146" sldId="590"/>
            <ac:spMk id="18" creationId="{54724AFE-0D0C-EDE7-EF98-6D3BCDE12581}"/>
          </ac:spMkLst>
        </pc:spChg>
        <pc:spChg chg="mod">
          <ac:chgData name="Jennifer Lux" userId="68deb4ee-ab23-4fb3-87ce-458f48719782" providerId="ADAL" clId="{DDAA8F99-2C36-4F2B-A69F-AA68C4C736A7}" dt="2024-12-09T22:32:41.008" v="162" actId="20577"/>
          <ac:spMkLst>
            <pc:docMk/>
            <pc:sldMk cId="2273120146" sldId="590"/>
            <ac:spMk id="19" creationId="{7B206B17-17B8-BA51-15D8-7010A9A0F866}"/>
          </ac:spMkLst>
        </pc:spChg>
        <pc:spChg chg="mod">
          <ac:chgData name="Jennifer Lux" userId="68deb4ee-ab23-4fb3-87ce-458f48719782" providerId="ADAL" clId="{DDAA8F99-2C36-4F2B-A69F-AA68C4C736A7}" dt="2024-12-09T22:58:41.030" v="615" actId="552"/>
          <ac:spMkLst>
            <pc:docMk/>
            <pc:sldMk cId="2273120146" sldId="590"/>
            <ac:spMk id="23" creationId="{FBA776FD-34FF-4A4E-87B7-20C71BAF388A}"/>
          </ac:spMkLst>
        </pc:spChg>
        <pc:spChg chg="mod">
          <ac:chgData name="Jennifer Lux" userId="68deb4ee-ab23-4fb3-87ce-458f48719782" providerId="ADAL" clId="{DDAA8F99-2C36-4F2B-A69F-AA68C4C736A7}" dt="2024-12-09T22:58:41.030" v="615" actId="552"/>
          <ac:spMkLst>
            <pc:docMk/>
            <pc:sldMk cId="2273120146" sldId="590"/>
            <ac:spMk id="24" creationId="{222219DD-DF53-3A5E-F3F1-93F3A2794E33}"/>
          </ac:spMkLst>
        </pc:spChg>
        <pc:spChg chg="add mod">
          <ac:chgData name="Jennifer Lux" userId="68deb4ee-ab23-4fb3-87ce-458f48719782" providerId="ADAL" clId="{DDAA8F99-2C36-4F2B-A69F-AA68C4C736A7}" dt="2024-12-09T22:58:41.030" v="615" actId="552"/>
          <ac:spMkLst>
            <pc:docMk/>
            <pc:sldMk cId="2273120146" sldId="590"/>
            <ac:spMk id="25" creationId="{51B7CC16-76C4-FE6E-593C-9792EF257805}"/>
          </ac:spMkLst>
        </pc:spChg>
        <pc:spChg chg="add del mod">
          <ac:chgData name="Jennifer Lux" userId="68deb4ee-ab23-4fb3-87ce-458f48719782" providerId="ADAL" clId="{DDAA8F99-2C36-4F2B-A69F-AA68C4C736A7}" dt="2024-12-09T22:58:49.171" v="618" actId="1035"/>
          <ac:spMkLst>
            <pc:docMk/>
            <pc:sldMk cId="2273120146" sldId="590"/>
            <ac:spMk id="26" creationId="{7F2F345C-1674-8E7D-D846-E29147E3C907}"/>
          </ac:spMkLst>
        </pc:spChg>
      </pc:sldChg>
      <pc:sldChg chg="addSp modSp mod">
        <pc:chgData name="Jennifer Lux" userId="68deb4ee-ab23-4fb3-87ce-458f48719782" providerId="ADAL" clId="{DDAA8F99-2C36-4F2B-A69F-AA68C4C736A7}" dt="2024-12-09T22:46:00.410" v="570" actId="207"/>
        <pc:sldMkLst>
          <pc:docMk/>
          <pc:sldMk cId="2566081983" sldId="2147483428"/>
        </pc:sldMkLst>
        <pc:spChg chg="mod">
          <ac:chgData name="Jennifer Lux" userId="68deb4ee-ab23-4fb3-87ce-458f48719782" providerId="ADAL" clId="{DDAA8F99-2C36-4F2B-A69F-AA68C4C736A7}" dt="2024-12-09T22:38:18.099" v="262" actId="14100"/>
          <ac:spMkLst>
            <pc:docMk/>
            <pc:sldMk cId="2566081983" sldId="2147483428"/>
            <ac:spMk id="4" creationId="{9E3AB6AF-638C-8625-3454-634E04B5EEF2}"/>
          </ac:spMkLst>
        </pc:spChg>
        <pc:spChg chg="mod">
          <ac:chgData name="Jennifer Lux" userId="68deb4ee-ab23-4fb3-87ce-458f48719782" providerId="ADAL" clId="{DDAA8F99-2C36-4F2B-A69F-AA68C4C736A7}" dt="2024-12-09T22:37:14.680" v="201" actId="1037"/>
          <ac:spMkLst>
            <pc:docMk/>
            <pc:sldMk cId="2566081983" sldId="2147483428"/>
            <ac:spMk id="5" creationId="{6E3A23AA-374F-A014-CCD5-05357D28630B}"/>
          </ac:spMkLst>
        </pc:spChg>
        <pc:spChg chg="mod">
          <ac:chgData name="Jennifer Lux" userId="68deb4ee-ab23-4fb3-87ce-458f48719782" providerId="ADAL" clId="{DDAA8F99-2C36-4F2B-A69F-AA68C4C736A7}" dt="2024-12-09T22:38:25.966" v="282" actId="1076"/>
          <ac:spMkLst>
            <pc:docMk/>
            <pc:sldMk cId="2566081983" sldId="2147483428"/>
            <ac:spMk id="6" creationId="{0C1D4A68-45F8-FF8D-BEAF-96E41925202E}"/>
          </ac:spMkLst>
        </pc:spChg>
        <pc:spChg chg="mod">
          <ac:chgData name="Jennifer Lux" userId="68deb4ee-ab23-4fb3-87ce-458f48719782" providerId="ADAL" clId="{DDAA8F99-2C36-4F2B-A69F-AA68C4C736A7}" dt="2024-12-09T22:41:00.181" v="432" actId="1076"/>
          <ac:spMkLst>
            <pc:docMk/>
            <pc:sldMk cId="2566081983" sldId="2147483428"/>
            <ac:spMk id="8" creationId="{61F70834-4BA4-5F4A-21E1-64A77E2E2691}"/>
          </ac:spMkLst>
        </pc:spChg>
        <pc:spChg chg="mod">
          <ac:chgData name="Jennifer Lux" userId="68deb4ee-ab23-4fb3-87ce-458f48719782" providerId="ADAL" clId="{DDAA8F99-2C36-4F2B-A69F-AA68C4C736A7}" dt="2024-12-09T22:41:00.181" v="432" actId="1076"/>
          <ac:spMkLst>
            <pc:docMk/>
            <pc:sldMk cId="2566081983" sldId="2147483428"/>
            <ac:spMk id="9" creationId="{57F34F8A-7CE3-A882-E221-0C7AE6D34A25}"/>
          </ac:spMkLst>
        </pc:spChg>
        <pc:spChg chg="mod">
          <ac:chgData name="Jennifer Lux" userId="68deb4ee-ab23-4fb3-87ce-458f48719782" providerId="ADAL" clId="{DDAA8F99-2C36-4F2B-A69F-AA68C4C736A7}" dt="2024-12-09T22:41:00.181" v="432" actId="1076"/>
          <ac:spMkLst>
            <pc:docMk/>
            <pc:sldMk cId="2566081983" sldId="2147483428"/>
            <ac:spMk id="11" creationId="{8B610A7B-3344-AE12-3B49-760577F3CA69}"/>
          </ac:spMkLst>
        </pc:spChg>
        <pc:spChg chg="mod">
          <ac:chgData name="Jennifer Lux" userId="68deb4ee-ab23-4fb3-87ce-458f48719782" providerId="ADAL" clId="{DDAA8F99-2C36-4F2B-A69F-AA68C4C736A7}" dt="2024-12-09T22:41:00.181" v="432" actId="1076"/>
          <ac:spMkLst>
            <pc:docMk/>
            <pc:sldMk cId="2566081983" sldId="2147483428"/>
            <ac:spMk id="12" creationId="{CC697A44-2E82-3B47-F960-4D0533FA0B4A}"/>
          </ac:spMkLst>
        </pc:spChg>
        <pc:spChg chg="mod">
          <ac:chgData name="Jennifer Lux" userId="68deb4ee-ab23-4fb3-87ce-458f48719782" providerId="ADAL" clId="{DDAA8F99-2C36-4F2B-A69F-AA68C4C736A7}" dt="2024-12-09T22:41:00.181" v="432" actId="1076"/>
          <ac:spMkLst>
            <pc:docMk/>
            <pc:sldMk cId="2566081983" sldId="2147483428"/>
            <ac:spMk id="14" creationId="{CBFE41C4-F566-1CC7-76E4-24896C01C4ED}"/>
          </ac:spMkLst>
        </pc:spChg>
        <pc:spChg chg="mod">
          <ac:chgData name="Jennifer Lux" userId="68deb4ee-ab23-4fb3-87ce-458f48719782" providerId="ADAL" clId="{DDAA8F99-2C36-4F2B-A69F-AA68C4C736A7}" dt="2024-12-09T22:41:00.181" v="432" actId="1076"/>
          <ac:spMkLst>
            <pc:docMk/>
            <pc:sldMk cId="2566081983" sldId="2147483428"/>
            <ac:spMk id="15" creationId="{C81CD480-0DE7-AEDD-1A1D-92CF36DB652D}"/>
          </ac:spMkLst>
        </pc:spChg>
        <pc:spChg chg="mod">
          <ac:chgData name="Jennifer Lux" userId="68deb4ee-ab23-4fb3-87ce-458f48719782" providerId="ADAL" clId="{DDAA8F99-2C36-4F2B-A69F-AA68C4C736A7}" dt="2024-12-09T22:37:14.680" v="201" actId="1037"/>
          <ac:spMkLst>
            <pc:docMk/>
            <pc:sldMk cId="2566081983" sldId="2147483428"/>
            <ac:spMk id="18" creationId="{1C77BA28-504C-5981-87A3-B018C8D24B8D}"/>
          </ac:spMkLst>
        </pc:spChg>
        <pc:spChg chg="mod">
          <ac:chgData name="Jennifer Lux" userId="68deb4ee-ab23-4fb3-87ce-458f48719782" providerId="ADAL" clId="{DDAA8F99-2C36-4F2B-A69F-AA68C4C736A7}" dt="2024-12-09T22:37:14.680" v="201" actId="1037"/>
          <ac:spMkLst>
            <pc:docMk/>
            <pc:sldMk cId="2566081983" sldId="2147483428"/>
            <ac:spMk id="20" creationId="{226D4894-F65E-CCD6-7526-8B4EEDBA6E56}"/>
          </ac:spMkLst>
        </pc:spChg>
        <pc:spChg chg="mod">
          <ac:chgData name="Jennifer Lux" userId="68deb4ee-ab23-4fb3-87ce-458f48719782" providerId="ADAL" clId="{DDAA8F99-2C36-4F2B-A69F-AA68C4C736A7}" dt="2024-12-09T22:37:14.680" v="201" actId="1037"/>
          <ac:spMkLst>
            <pc:docMk/>
            <pc:sldMk cId="2566081983" sldId="2147483428"/>
            <ac:spMk id="21" creationId="{F4921132-4CFD-8F48-2B29-BE02449202C4}"/>
          </ac:spMkLst>
        </pc:spChg>
        <pc:spChg chg="mod">
          <ac:chgData name="Jennifer Lux" userId="68deb4ee-ab23-4fb3-87ce-458f48719782" providerId="ADAL" clId="{DDAA8F99-2C36-4F2B-A69F-AA68C4C736A7}" dt="2024-12-09T22:37:14.680" v="201" actId="1037"/>
          <ac:spMkLst>
            <pc:docMk/>
            <pc:sldMk cId="2566081983" sldId="2147483428"/>
            <ac:spMk id="22" creationId="{29D4C8AD-56B8-1575-531E-5979086E018E}"/>
          </ac:spMkLst>
        </pc:spChg>
        <pc:spChg chg="mod">
          <ac:chgData name="Jennifer Lux" userId="68deb4ee-ab23-4fb3-87ce-458f48719782" providerId="ADAL" clId="{DDAA8F99-2C36-4F2B-A69F-AA68C4C736A7}" dt="2024-12-09T22:37:14.680" v="201" actId="1037"/>
          <ac:spMkLst>
            <pc:docMk/>
            <pc:sldMk cId="2566081983" sldId="2147483428"/>
            <ac:spMk id="23" creationId="{2E881A38-48A8-80D7-717A-E2D8A5266C44}"/>
          </ac:spMkLst>
        </pc:spChg>
        <pc:spChg chg="mod">
          <ac:chgData name="Jennifer Lux" userId="68deb4ee-ab23-4fb3-87ce-458f48719782" providerId="ADAL" clId="{DDAA8F99-2C36-4F2B-A69F-AA68C4C736A7}" dt="2024-12-09T22:37:14.680" v="201" actId="1037"/>
          <ac:spMkLst>
            <pc:docMk/>
            <pc:sldMk cId="2566081983" sldId="2147483428"/>
            <ac:spMk id="24" creationId="{2E37961A-1972-CD26-4B66-475B672D502B}"/>
          </ac:spMkLst>
        </pc:spChg>
        <pc:spChg chg="mod">
          <ac:chgData name="Jennifer Lux" userId="68deb4ee-ab23-4fb3-87ce-458f48719782" providerId="ADAL" clId="{DDAA8F99-2C36-4F2B-A69F-AA68C4C736A7}" dt="2024-12-09T22:37:14.680" v="201" actId="1037"/>
          <ac:spMkLst>
            <pc:docMk/>
            <pc:sldMk cId="2566081983" sldId="2147483428"/>
            <ac:spMk id="25" creationId="{6D4FDB34-93FF-4683-59E1-3ED3A430CB26}"/>
          </ac:spMkLst>
        </pc:spChg>
        <pc:spChg chg="mod">
          <ac:chgData name="Jennifer Lux" userId="68deb4ee-ab23-4fb3-87ce-458f48719782" providerId="ADAL" clId="{DDAA8F99-2C36-4F2B-A69F-AA68C4C736A7}" dt="2024-12-09T22:37:14.680" v="201" actId="1037"/>
          <ac:spMkLst>
            <pc:docMk/>
            <pc:sldMk cId="2566081983" sldId="2147483428"/>
            <ac:spMk id="26" creationId="{8A1C40F7-2915-4D36-3DE0-4734CE5D877A}"/>
          </ac:spMkLst>
        </pc:spChg>
        <pc:spChg chg="mod">
          <ac:chgData name="Jennifer Lux" userId="68deb4ee-ab23-4fb3-87ce-458f48719782" providerId="ADAL" clId="{DDAA8F99-2C36-4F2B-A69F-AA68C4C736A7}" dt="2024-12-09T22:41:00.181" v="432" actId="1076"/>
          <ac:spMkLst>
            <pc:docMk/>
            <pc:sldMk cId="2566081983" sldId="2147483428"/>
            <ac:spMk id="27" creationId="{788192F5-E326-FE07-3106-245ACF6A8029}"/>
          </ac:spMkLst>
        </pc:spChg>
        <pc:spChg chg="mod">
          <ac:chgData name="Jennifer Lux" userId="68deb4ee-ab23-4fb3-87ce-458f48719782" providerId="ADAL" clId="{DDAA8F99-2C36-4F2B-A69F-AA68C4C736A7}" dt="2024-12-09T22:37:14.680" v="201" actId="1037"/>
          <ac:spMkLst>
            <pc:docMk/>
            <pc:sldMk cId="2566081983" sldId="2147483428"/>
            <ac:spMk id="28" creationId="{BE3CAD19-29B8-547F-59AA-81EBC613F3FE}"/>
          </ac:spMkLst>
        </pc:spChg>
        <pc:spChg chg="mod">
          <ac:chgData name="Jennifer Lux" userId="68deb4ee-ab23-4fb3-87ce-458f48719782" providerId="ADAL" clId="{DDAA8F99-2C36-4F2B-A69F-AA68C4C736A7}" dt="2024-12-09T22:41:00.181" v="432" actId="1076"/>
          <ac:spMkLst>
            <pc:docMk/>
            <pc:sldMk cId="2566081983" sldId="2147483428"/>
            <ac:spMk id="29" creationId="{BFDE4499-4515-90C5-738B-144913CDB2DE}"/>
          </ac:spMkLst>
        </pc:spChg>
        <pc:spChg chg="mod">
          <ac:chgData name="Jennifer Lux" userId="68deb4ee-ab23-4fb3-87ce-458f48719782" providerId="ADAL" clId="{DDAA8F99-2C36-4F2B-A69F-AA68C4C736A7}" dt="2024-12-09T22:37:14.680" v="201" actId="1037"/>
          <ac:spMkLst>
            <pc:docMk/>
            <pc:sldMk cId="2566081983" sldId="2147483428"/>
            <ac:spMk id="30" creationId="{60671D65-B634-78AE-497B-6F101614F9F2}"/>
          </ac:spMkLst>
        </pc:spChg>
        <pc:spChg chg="mod">
          <ac:chgData name="Jennifer Lux" userId="68deb4ee-ab23-4fb3-87ce-458f48719782" providerId="ADAL" clId="{DDAA8F99-2C36-4F2B-A69F-AA68C4C736A7}" dt="2024-12-09T22:41:41.224" v="451" actId="1076"/>
          <ac:spMkLst>
            <pc:docMk/>
            <pc:sldMk cId="2566081983" sldId="2147483428"/>
            <ac:spMk id="31" creationId="{E1C10BCC-CE3D-6C39-5C53-8C511DE34520}"/>
          </ac:spMkLst>
        </pc:spChg>
        <pc:spChg chg="mod">
          <ac:chgData name="Jennifer Lux" userId="68deb4ee-ab23-4fb3-87ce-458f48719782" providerId="ADAL" clId="{DDAA8F99-2C36-4F2B-A69F-AA68C4C736A7}" dt="2024-12-09T22:37:14.680" v="201" actId="1037"/>
          <ac:spMkLst>
            <pc:docMk/>
            <pc:sldMk cId="2566081983" sldId="2147483428"/>
            <ac:spMk id="32" creationId="{57D8AEBD-BBFA-B115-D5CE-FD523C7EC116}"/>
          </ac:spMkLst>
        </pc:spChg>
        <pc:spChg chg="add mod">
          <ac:chgData name="Jennifer Lux" userId="68deb4ee-ab23-4fb3-87ce-458f48719782" providerId="ADAL" clId="{DDAA8F99-2C36-4F2B-A69F-AA68C4C736A7}" dt="2024-12-09T22:44:23.525" v="496" actId="12788"/>
          <ac:spMkLst>
            <pc:docMk/>
            <pc:sldMk cId="2566081983" sldId="2147483428"/>
            <ac:spMk id="34" creationId="{462FBD2F-49C5-E1F2-F969-D20451417AD6}"/>
          </ac:spMkLst>
        </pc:spChg>
        <pc:spChg chg="mod">
          <ac:chgData name="Jennifer Lux" userId="68deb4ee-ab23-4fb3-87ce-458f48719782" providerId="ADAL" clId="{DDAA8F99-2C36-4F2B-A69F-AA68C4C736A7}" dt="2024-12-09T22:37:50.024" v="216" actId="1076"/>
          <ac:spMkLst>
            <pc:docMk/>
            <pc:sldMk cId="2566081983" sldId="2147483428"/>
            <ac:spMk id="35" creationId="{6EE4ED0E-C543-6AAB-9FC8-3A7C0ACFAA55}"/>
          </ac:spMkLst>
        </pc:spChg>
        <pc:spChg chg="add mod">
          <ac:chgData name="Jennifer Lux" userId="68deb4ee-ab23-4fb3-87ce-458f48719782" providerId="ADAL" clId="{DDAA8F99-2C36-4F2B-A69F-AA68C4C736A7}" dt="2024-12-09T22:45:18.954" v="567" actId="947"/>
          <ac:spMkLst>
            <pc:docMk/>
            <pc:sldMk cId="2566081983" sldId="2147483428"/>
            <ac:spMk id="36" creationId="{FF290169-DD67-B61E-C6EB-B062BDA5C92A}"/>
          </ac:spMkLst>
        </pc:spChg>
        <pc:spChg chg="add mod ord">
          <ac:chgData name="Jennifer Lux" userId="68deb4ee-ab23-4fb3-87ce-458f48719782" providerId="ADAL" clId="{DDAA8F99-2C36-4F2B-A69F-AA68C4C736A7}" dt="2024-12-09T22:44:23.525" v="496" actId="12788"/>
          <ac:spMkLst>
            <pc:docMk/>
            <pc:sldMk cId="2566081983" sldId="2147483428"/>
            <ac:spMk id="37" creationId="{519C24AD-1D30-6AC3-DC25-DE20A9FAB29E}"/>
          </ac:spMkLst>
        </pc:spChg>
        <pc:spChg chg="add mod">
          <ac:chgData name="Jennifer Lux" userId="68deb4ee-ab23-4fb3-87ce-458f48719782" providerId="ADAL" clId="{DDAA8F99-2C36-4F2B-A69F-AA68C4C736A7}" dt="2024-12-09T22:46:00.410" v="570" actId="207"/>
          <ac:spMkLst>
            <pc:docMk/>
            <pc:sldMk cId="2566081983" sldId="2147483428"/>
            <ac:spMk id="39" creationId="{164917AF-4FD3-7D5F-5DEE-55E2E239945E}"/>
          </ac:spMkLst>
        </pc:spChg>
        <pc:spChg chg="mod">
          <ac:chgData name="Jennifer Lux" userId="68deb4ee-ab23-4fb3-87ce-458f48719782" providerId="ADAL" clId="{DDAA8F99-2C36-4F2B-A69F-AA68C4C736A7}" dt="2024-12-09T22:41:50.296" v="454" actId="1076"/>
          <ac:spMkLst>
            <pc:docMk/>
            <pc:sldMk cId="2566081983" sldId="2147483428"/>
            <ac:spMk id="47" creationId="{FB0E0450-D115-C0F1-1E27-D8CBDA213788}"/>
          </ac:spMkLst>
        </pc:spChg>
        <pc:spChg chg="mod">
          <ac:chgData name="Jennifer Lux" userId="68deb4ee-ab23-4fb3-87ce-458f48719782" providerId="ADAL" clId="{DDAA8F99-2C36-4F2B-A69F-AA68C4C736A7}" dt="2024-12-09T22:38:30.734" v="284" actId="1076"/>
          <ac:spMkLst>
            <pc:docMk/>
            <pc:sldMk cId="2566081983" sldId="2147483428"/>
            <ac:spMk id="48" creationId="{50226142-9D76-153B-F049-530A70EF3DF7}"/>
          </ac:spMkLst>
        </pc:spChg>
        <pc:spChg chg="mod">
          <ac:chgData name="Jennifer Lux" userId="68deb4ee-ab23-4fb3-87ce-458f48719782" providerId="ADAL" clId="{DDAA8F99-2C36-4F2B-A69F-AA68C4C736A7}" dt="2024-12-09T22:38:22.045" v="281" actId="1037"/>
          <ac:spMkLst>
            <pc:docMk/>
            <pc:sldMk cId="2566081983" sldId="2147483428"/>
            <ac:spMk id="50" creationId="{3E220BD8-5394-21B2-94FB-309E0B008929}"/>
          </ac:spMkLst>
        </pc:spChg>
        <pc:spChg chg="mod">
          <ac:chgData name="Jennifer Lux" userId="68deb4ee-ab23-4fb3-87ce-458f48719782" providerId="ADAL" clId="{DDAA8F99-2C36-4F2B-A69F-AA68C4C736A7}" dt="2024-12-09T22:41:00.181" v="432" actId="1076"/>
          <ac:spMkLst>
            <pc:docMk/>
            <pc:sldMk cId="2566081983" sldId="2147483428"/>
            <ac:spMk id="68" creationId="{AF22A1C6-27F5-AFB0-22D0-6ED5F0BC7BBE}"/>
          </ac:spMkLst>
        </pc:spChg>
        <pc:spChg chg="mod">
          <ac:chgData name="Jennifer Lux" userId="68deb4ee-ab23-4fb3-87ce-458f48719782" providerId="ADAL" clId="{DDAA8F99-2C36-4F2B-A69F-AA68C4C736A7}" dt="2024-12-09T22:41:00.181" v="432" actId="1076"/>
          <ac:spMkLst>
            <pc:docMk/>
            <pc:sldMk cId="2566081983" sldId="2147483428"/>
            <ac:spMk id="70" creationId="{D4547301-88B2-F5CD-96D9-B42539E541DD}"/>
          </ac:spMkLst>
        </pc:spChg>
        <pc:spChg chg="mod">
          <ac:chgData name="Jennifer Lux" userId="68deb4ee-ab23-4fb3-87ce-458f48719782" providerId="ADAL" clId="{DDAA8F99-2C36-4F2B-A69F-AA68C4C736A7}" dt="2024-12-09T22:41:00.181" v="432" actId="1076"/>
          <ac:spMkLst>
            <pc:docMk/>
            <pc:sldMk cId="2566081983" sldId="2147483428"/>
            <ac:spMk id="72" creationId="{FC2D4D57-6E5B-C6F7-689A-DF10E162AF37}"/>
          </ac:spMkLst>
        </pc:spChg>
        <pc:spChg chg="mod">
          <ac:chgData name="Jennifer Lux" userId="68deb4ee-ab23-4fb3-87ce-458f48719782" providerId="ADAL" clId="{DDAA8F99-2C36-4F2B-A69F-AA68C4C736A7}" dt="2024-12-09T22:41:00.181" v="432" actId="1076"/>
          <ac:spMkLst>
            <pc:docMk/>
            <pc:sldMk cId="2566081983" sldId="2147483428"/>
            <ac:spMk id="73" creationId="{719A8DB9-CFA7-8A6E-29A3-CBA7B6A15108}"/>
          </ac:spMkLst>
        </pc:spChg>
        <pc:spChg chg="mod">
          <ac:chgData name="Jennifer Lux" userId="68deb4ee-ab23-4fb3-87ce-458f48719782" providerId="ADAL" clId="{DDAA8F99-2C36-4F2B-A69F-AA68C4C736A7}" dt="2024-12-09T22:37:26.629" v="209" actId="14100"/>
          <ac:spMkLst>
            <pc:docMk/>
            <pc:sldMk cId="2566081983" sldId="2147483428"/>
            <ac:spMk id="88" creationId="{A0FCD259-0107-1963-F909-27AD5E826565}"/>
          </ac:spMkLst>
        </pc:spChg>
        <pc:spChg chg="mod">
          <ac:chgData name="Jennifer Lux" userId="68deb4ee-ab23-4fb3-87ce-458f48719782" providerId="ADAL" clId="{DDAA8F99-2C36-4F2B-A69F-AA68C4C736A7}" dt="2024-12-09T22:41:45.880" v="452" actId="1076"/>
          <ac:spMkLst>
            <pc:docMk/>
            <pc:sldMk cId="2566081983" sldId="2147483428"/>
            <ac:spMk id="89" creationId="{361464D5-7D41-B0D9-1287-A78F143E2433}"/>
          </ac:spMkLst>
        </pc:spChg>
        <pc:grpChg chg="mod">
          <ac:chgData name="Jennifer Lux" userId="68deb4ee-ab23-4fb3-87ce-458f48719782" providerId="ADAL" clId="{DDAA8F99-2C36-4F2B-A69F-AA68C4C736A7}" dt="2024-12-09T22:41:00.181" v="432" actId="1076"/>
          <ac:grpSpMkLst>
            <pc:docMk/>
            <pc:sldMk cId="2566081983" sldId="2147483428"/>
            <ac:grpSpMk id="7" creationId="{9F2DBFA7-458E-CFEA-3A3B-AC31C3BF20BF}"/>
          </ac:grpSpMkLst>
        </pc:grpChg>
        <pc:grpChg chg="mod">
          <ac:chgData name="Jennifer Lux" userId="68deb4ee-ab23-4fb3-87ce-458f48719782" providerId="ADAL" clId="{DDAA8F99-2C36-4F2B-A69F-AA68C4C736A7}" dt="2024-12-09T22:41:00.181" v="432" actId="1076"/>
          <ac:grpSpMkLst>
            <pc:docMk/>
            <pc:sldMk cId="2566081983" sldId="2147483428"/>
            <ac:grpSpMk id="10" creationId="{C1193E8D-A549-5880-4EAF-DBEAD7AEC0AE}"/>
          </ac:grpSpMkLst>
        </pc:grpChg>
        <pc:grpChg chg="mod">
          <ac:chgData name="Jennifer Lux" userId="68deb4ee-ab23-4fb3-87ce-458f48719782" providerId="ADAL" clId="{DDAA8F99-2C36-4F2B-A69F-AA68C4C736A7}" dt="2024-12-09T22:41:00.181" v="432" actId="1076"/>
          <ac:grpSpMkLst>
            <pc:docMk/>
            <pc:sldMk cId="2566081983" sldId="2147483428"/>
            <ac:grpSpMk id="13" creationId="{21095EE5-E14F-ACDA-0072-4534A5847C8E}"/>
          </ac:grpSpMkLst>
        </pc:grpChg>
        <pc:grpChg chg="mod">
          <ac:chgData name="Jennifer Lux" userId="68deb4ee-ab23-4fb3-87ce-458f48719782" providerId="ADAL" clId="{DDAA8F99-2C36-4F2B-A69F-AA68C4C736A7}" dt="2024-12-09T22:41:00.181" v="432" actId="1076"/>
          <ac:grpSpMkLst>
            <pc:docMk/>
            <pc:sldMk cId="2566081983" sldId="2147483428"/>
            <ac:grpSpMk id="16" creationId="{CF54BE86-8B99-F22E-CDB8-78ED055A5159}"/>
          </ac:grpSpMkLst>
        </pc:grpChg>
        <pc:grpChg chg="mod">
          <ac:chgData name="Jennifer Lux" userId="68deb4ee-ab23-4fb3-87ce-458f48719782" providerId="ADAL" clId="{DDAA8F99-2C36-4F2B-A69F-AA68C4C736A7}" dt="2024-12-09T22:38:27.186" v="283" actId="1076"/>
          <ac:grpSpMkLst>
            <pc:docMk/>
            <pc:sldMk cId="2566081983" sldId="2147483428"/>
            <ac:grpSpMk id="17" creationId="{1B6F929D-F932-8CEB-EEE4-0F15CBCC6269}"/>
          </ac:grpSpMkLst>
        </pc:grpChg>
        <pc:grpChg chg="mod">
          <ac:chgData name="Jennifer Lux" userId="68deb4ee-ab23-4fb3-87ce-458f48719782" providerId="ADAL" clId="{DDAA8F99-2C36-4F2B-A69F-AA68C4C736A7}" dt="2024-12-09T22:37:14.680" v="201" actId="1037"/>
          <ac:grpSpMkLst>
            <pc:docMk/>
            <pc:sldMk cId="2566081983" sldId="2147483428"/>
            <ac:grpSpMk id="19" creationId="{7E2CA936-EF63-37CD-E5F1-48C408154F78}"/>
          </ac:grpSpMkLst>
        </pc:grpChg>
        <pc:grpChg chg="add mod">
          <ac:chgData name="Jennifer Lux" userId="68deb4ee-ab23-4fb3-87ce-458f48719782" providerId="ADAL" clId="{DDAA8F99-2C36-4F2B-A69F-AA68C4C736A7}" dt="2024-12-09T22:41:00.181" v="432" actId="1076"/>
          <ac:grpSpMkLst>
            <pc:docMk/>
            <pc:sldMk cId="2566081983" sldId="2147483428"/>
            <ac:grpSpMk id="33" creationId="{004FFAC7-7A1C-86B6-7C04-04527E0713C3}"/>
          </ac:grpSpMkLst>
        </pc:grpChg>
        <pc:grpChg chg="mod">
          <ac:chgData name="Jennifer Lux" userId="68deb4ee-ab23-4fb3-87ce-458f48719782" providerId="ADAL" clId="{DDAA8F99-2C36-4F2B-A69F-AA68C4C736A7}" dt="2024-12-09T22:38:22.045" v="281" actId="1037"/>
          <ac:grpSpMkLst>
            <pc:docMk/>
            <pc:sldMk cId="2566081983" sldId="2147483428"/>
            <ac:grpSpMk id="64" creationId="{BBC5247C-55F6-B6F2-E198-CEB0ADD3960A}"/>
          </ac:grpSpMkLst>
        </pc:grpChg>
        <pc:grpChg chg="mod">
          <ac:chgData name="Jennifer Lux" userId="68deb4ee-ab23-4fb3-87ce-458f48719782" providerId="ADAL" clId="{DDAA8F99-2C36-4F2B-A69F-AA68C4C736A7}" dt="2024-12-09T22:41:48.556" v="453" actId="1076"/>
          <ac:grpSpMkLst>
            <pc:docMk/>
            <pc:sldMk cId="2566081983" sldId="2147483428"/>
            <ac:grpSpMk id="78" creationId="{BD585C73-DA19-FA15-70EF-119F63ABF2E8}"/>
          </ac:grpSpMkLst>
        </pc:grpChg>
        <pc:picChg chg="mod">
          <ac:chgData name="Jennifer Lux" userId="68deb4ee-ab23-4fb3-87ce-458f48719782" providerId="ADAL" clId="{DDAA8F99-2C36-4F2B-A69F-AA68C4C736A7}" dt="2024-12-09T22:37:14.680" v="201" actId="1037"/>
          <ac:picMkLst>
            <pc:docMk/>
            <pc:sldMk cId="2566081983" sldId="2147483428"/>
            <ac:picMk id="60" creationId="{C8BEE4F9-7A2A-54D8-BB77-BAE05AC48115}"/>
          </ac:picMkLst>
        </pc:picChg>
        <pc:picChg chg="mod">
          <ac:chgData name="Jennifer Lux" userId="68deb4ee-ab23-4fb3-87ce-458f48719782" providerId="ADAL" clId="{DDAA8F99-2C36-4F2B-A69F-AA68C4C736A7}" dt="2024-12-09T22:37:14.680" v="201" actId="1037"/>
          <ac:picMkLst>
            <pc:docMk/>
            <pc:sldMk cId="2566081983" sldId="2147483428"/>
            <ac:picMk id="63" creationId="{1B3F770F-BC7F-9402-7554-E6FBA70F4FA7}"/>
          </ac:picMkLst>
        </pc:picChg>
      </pc:sldChg>
      <pc:sldChg chg="modSp mod">
        <pc:chgData name="Jennifer Lux" userId="68deb4ee-ab23-4fb3-87ce-458f48719782" providerId="ADAL" clId="{DDAA8F99-2C36-4F2B-A69F-AA68C4C736A7}" dt="2024-12-09T22:45:41.457" v="568" actId="1076"/>
        <pc:sldMkLst>
          <pc:docMk/>
          <pc:sldMk cId="4049936729" sldId="2147483601"/>
        </pc:sldMkLst>
        <pc:cxnChg chg="mod">
          <ac:chgData name="Jennifer Lux" userId="68deb4ee-ab23-4fb3-87ce-458f48719782" providerId="ADAL" clId="{DDAA8F99-2C36-4F2B-A69F-AA68C4C736A7}" dt="2024-12-09T22:45:41.457" v="568" actId="1076"/>
          <ac:cxnSpMkLst>
            <pc:docMk/>
            <pc:sldMk cId="4049936729" sldId="2147483601"/>
            <ac:cxnSpMk id="15" creationId="{3C762424-E3DC-1DE2-9324-C780E250961A}"/>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5F02A96A-049A-4FF2-9303-D6C78F1EF758}" type="datetimeFigureOut">
              <a:rPr lang="en-US" smtClean="0"/>
              <a:t>12/9/2024</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8D17949E-41F7-4458-B6CE-7731765F4775}" type="slidenum">
              <a:rPr lang="en-US" smtClean="0"/>
              <a:t>‹#›</a:t>
            </a:fld>
            <a:endParaRPr lang="en-US"/>
          </a:p>
        </p:txBody>
      </p:sp>
    </p:spTree>
    <p:extLst>
      <p:ext uri="{BB962C8B-B14F-4D97-AF65-F5344CB8AC3E}">
        <p14:creationId xmlns:p14="http://schemas.microsoft.com/office/powerpoint/2010/main" val="34432324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aanp.org/news-feed/two-in-five-americans-report-unreasonable-health-care-wait-times?utm_source=chatgpt.com"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tebra.com/theintake/healthcare-reports/patient-scheduling/patient-wait-time-report"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healthdatamanagement.com/articles/better-credentialing-can-address-challenges-improve-car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forbes.com/councils/forbestechcouncil/2024/12/03/generative-ai-charting-a-new-course-in-healthcare/"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forbes.com/councils/forbestechcouncil/2024/11/27/generative-ai-in-healthcare-the-benefits-and-challenge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caqh.org/news/2023-caqh-index-report-reveals-transformative-forc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85000"/>
                  </a:schemeClr>
                </a:solidFill>
              </a:rPr>
              <a:t>4 www.fiercehealthcare.com/practices/report-u-s-healthcare-could-save-265-billion-administrative-costs</a:t>
            </a:r>
          </a:p>
          <a:p>
            <a:endParaRPr lang="en-US" dirty="0"/>
          </a:p>
        </p:txBody>
      </p:sp>
      <p:sp>
        <p:nvSpPr>
          <p:cNvPr id="4" name="Slide Number Placeholder 3"/>
          <p:cNvSpPr>
            <a:spLocks noGrp="1"/>
          </p:cNvSpPr>
          <p:nvPr>
            <p:ph type="sldNum" sz="quarter" idx="5"/>
          </p:nvPr>
        </p:nvSpPr>
        <p:spPr/>
        <p:txBody>
          <a:bodyPr/>
          <a:lstStyle/>
          <a:p>
            <a:pPr defTabSz="971029">
              <a:defRPr/>
            </a:pPr>
            <a:fld id="{AA8193FD-E857-426A-96CE-F67AA79EB20F}" type="slidenum">
              <a:rPr lang="en-US">
                <a:solidFill>
                  <a:prstClr val="black"/>
                </a:solidFill>
                <a:latin typeface="Aptos" panose="02110004020202020204"/>
              </a:rPr>
              <a:pPr defTabSz="971029">
                <a:defRPr/>
              </a:pPr>
              <a:t>3</a:t>
            </a:fld>
            <a:endParaRPr lang="en-US">
              <a:solidFill>
                <a:prstClr val="black"/>
              </a:solidFill>
              <a:latin typeface="Aptos" panose="02110004020202020204"/>
            </a:endParaRPr>
          </a:p>
        </p:txBody>
      </p:sp>
    </p:spTree>
    <p:extLst>
      <p:ext uri="{BB962C8B-B14F-4D97-AF65-F5344CB8AC3E}">
        <p14:creationId xmlns:p14="http://schemas.microsoft.com/office/powerpoint/2010/main" val="5468936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ndings directly feed back into industry operating rule dev</a:t>
            </a:r>
          </a:p>
        </p:txBody>
      </p:sp>
      <p:sp>
        <p:nvSpPr>
          <p:cNvPr id="4" name="Slide Number Placeholder 3"/>
          <p:cNvSpPr>
            <a:spLocks noGrp="1"/>
          </p:cNvSpPr>
          <p:nvPr>
            <p:ph type="sldNum" sz="quarter" idx="5"/>
          </p:nvPr>
        </p:nvSpPr>
        <p:spPr/>
        <p:txBody>
          <a:bodyPr/>
          <a:lstStyle/>
          <a:p>
            <a:fld id="{04FD4518-AE90-4292-A357-8FDFF14FBF8E}" type="slidenum">
              <a:rPr lang="en-US" smtClean="0"/>
              <a:t>13</a:t>
            </a:fld>
            <a:endParaRPr lang="en-US"/>
          </a:p>
        </p:txBody>
      </p:sp>
    </p:spTree>
    <p:extLst>
      <p:ext uri="{BB962C8B-B14F-4D97-AF65-F5344CB8AC3E}">
        <p14:creationId xmlns:p14="http://schemas.microsoft.com/office/powerpoint/2010/main" val="2671108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Two in Five Americans Report Unreasonable Health Care Wait Times</a:t>
            </a:r>
          </a:p>
          <a:p>
            <a:endParaRPr lang="en-US"/>
          </a:p>
          <a:p>
            <a:r>
              <a:rPr lang="en-US">
                <a:hlinkClick r:id="rId4"/>
              </a:rPr>
              <a:t>Appointment delays and wait times: A patient and doctor report - The Intake</a:t>
            </a:r>
            <a:endParaRPr lang="en-US"/>
          </a:p>
        </p:txBody>
      </p:sp>
      <p:sp>
        <p:nvSpPr>
          <p:cNvPr id="4" name="Slide Number Placeholder 3"/>
          <p:cNvSpPr>
            <a:spLocks noGrp="1"/>
          </p:cNvSpPr>
          <p:nvPr>
            <p:ph type="sldNum" sz="quarter" idx="5"/>
          </p:nvPr>
        </p:nvSpPr>
        <p:spPr/>
        <p:txBody>
          <a:bodyPr/>
          <a:lstStyle/>
          <a:p>
            <a:fld id="{8D17949E-41F7-4458-B6CE-7731765F4775}" type="slidenum">
              <a:rPr lang="en-US" smtClean="0"/>
              <a:t>5</a:t>
            </a:fld>
            <a:endParaRPr lang="en-US"/>
          </a:p>
        </p:txBody>
      </p:sp>
    </p:spTree>
    <p:extLst>
      <p:ext uri="{BB962C8B-B14F-4D97-AF65-F5344CB8AC3E}">
        <p14:creationId xmlns:p14="http://schemas.microsoft.com/office/powerpoint/2010/main" val="1541160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05B7C-2C05-0FF0-5E1E-FB33B15EA7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35A4EE-2A3F-E358-023D-0510EF454F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9FFC6D-AA55-C7B9-C7C5-56D05D78CB02}"/>
              </a:ext>
            </a:extLst>
          </p:cNvPr>
          <p:cNvSpPr>
            <a:spLocks noGrp="1"/>
          </p:cNvSpPr>
          <p:nvPr>
            <p:ph type="body" idx="1"/>
          </p:nvPr>
        </p:nvSpPr>
        <p:spPr/>
        <p:txBody>
          <a:bodyPr/>
          <a:lstStyle/>
          <a:p>
            <a:pPr defTabSz="942289">
              <a:defRPr/>
            </a:pPr>
            <a:r>
              <a:rPr lang="en-US">
                <a:solidFill>
                  <a:prstClr val="white"/>
                </a:solidFill>
                <a:latin typeface="Arial"/>
              </a:rPr>
              <a:t>The United States is facing a physician shortage by 2034. Staffing shortages put everyone in the system at risk by intensifying patient access challenges, decreasing the overall quality of care, and introducing the opportunity for medical errors. </a:t>
            </a:r>
          </a:p>
          <a:p>
            <a:pPr defTabSz="942289">
              <a:defRPr/>
            </a:pPr>
            <a:endParaRPr lang="en-US">
              <a:solidFill>
                <a:prstClr val="white"/>
              </a:solidFill>
              <a:latin typeface="Arial"/>
            </a:endParaRPr>
          </a:p>
          <a:p>
            <a:pPr defTabSz="942289">
              <a:defRPr/>
            </a:pPr>
            <a:r>
              <a:rPr lang="en-US">
                <a:solidFill>
                  <a:prstClr val="white"/>
                </a:solidFill>
                <a:latin typeface="Arial"/>
              </a:rPr>
              <a:t>More than 145,000 healthcare providers left healthcare between 2021-2022 (Definitive Healthcare, 2023). Costs can include lost billings, and recruitment and onboarding costs (AMA, 2018).</a:t>
            </a:r>
          </a:p>
          <a:p>
            <a:pPr defTabSz="942289">
              <a:defRPr/>
            </a:pPr>
            <a:endParaRPr lang="en-US">
              <a:solidFill>
                <a:prstClr val="white"/>
              </a:solidFill>
              <a:latin typeface="Arial"/>
            </a:endParaRPr>
          </a:p>
          <a:p>
            <a:pPr defTabSz="942289">
              <a:defRPr/>
            </a:pPr>
            <a:r>
              <a:rPr lang="en-US">
                <a:solidFill>
                  <a:prstClr val="white"/>
                </a:solidFill>
                <a:latin typeface="Arial"/>
              </a:rPr>
              <a:t>The FTC ruling on non-competes could increase provider job movement and create credentialing, onboarding, and enrollment back-logs.</a:t>
            </a:r>
            <a:r>
              <a:rPr lang="en-US" baseline="30000">
                <a:solidFill>
                  <a:prstClr val="white"/>
                </a:solidFill>
                <a:latin typeface="Arial"/>
              </a:rPr>
              <a:t>1</a:t>
            </a:r>
          </a:p>
          <a:p>
            <a:pPr defTabSz="942289">
              <a:defRPr/>
            </a:pPr>
            <a:endParaRPr lang="en-US">
              <a:solidFill>
                <a:prstClr val="white"/>
              </a:solidFill>
              <a:latin typeface="Arial"/>
            </a:endParaRPr>
          </a:p>
          <a:p>
            <a:endParaRPr lang="en-US"/>
          </a:p>
        </p:txBody>
      </p:sp>
      <p:sp>
        <p:nvSpPr>
          <p:cNvPr id="4" name="Slide Number Placeholder 3">
            <a:extLst>
              <a:ext uri="{FF2B5EF4-FFF2-40B4-BE49-F238E27FC236}">
                <a16:creationId xmlns:a16="http://schemas.microsoft.com/office/drawing/2014/main" id="{BB961B00-7AB6-DB34-D9AD-C3D635320EB4}"/>
              </a:ext>
            </a:extLst>
          </p:cNvPr>
          <p:cNvSpPr>
            <a:spLocks noGrp="1"/>
          </p:cNvSpPr>
          <p:nvPr>
            <p:ph type="sldNum" sz="quarter" idx="5"/>
          </p:nvPr>
        </p:nvSpPr>
        <p:spPr/>
        <p:txBody>
          <a:bodyPr/>
          <a:lstStyle/>
          <a:p>
            <a:pPr defTabSz="942289">
              <a:defRPr/>
            </a:pPr>
            <a:fld id="{8572DC34-B862-4203-8120-8078F3686957}" type="slidenum">
              <a:rPr lang="en-US">
                <a:solidFill>
                  <a:prstClr val="black"/>
                </a:solidFill>
                <a:latin typeface="Calibri" panose="020F0502020204030204"/>
              </a:rPr>
              <a:pPr defTabSz="942289">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2089857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43434"/>
                </a:solidFill>
                <a:effectLst/>
                <a:latin typeface="Roboto" panose="02000000000000000000" pitchFamily="2" charset="0"/>
              </a:rPr>
              <a:t>On average, teams are using 3.3 software solutions and spreadsheets to manage the provider data lifecycle. Consequently, they must enter the same data an average of 2.6 times into different systems. </a:t>
            </a:r>
            <a:r>
              <a:rPr lang="en-US" dirty="0">
                <a:hlinkClick r:id="rId3"/>
              </a:rPr>
              <a:t>Better credentialing can address challenges, improve care - Health Data Management</a:t>
            </a:r>
            <a:endParaRPr lang="en-US" dirty="0"/>
          </a:p>
        </p:txBody>
      </p:sp>
      <p:sp>
        <p:nvSpPr>
          <p:cNvPr id="4" name="Slide Number Placeholder 3"/>
          <p:cNvSpPr>
            <a:spLocks noGrp="1"/>
          </p:cNvSpPr>
          <p:nvPr>
            <p:ph type="sldNum" sz="quarter" idx="5"/>
          </p:nvPr>
        </p:nvSpPr>
        <p:spPr/>
        <p:txBody>
          <a:bodyPr/>
          <a:lstStyle/>
          <a:p>
            <a:fld id="{8D17949E-41F7-4458-B6CE-7731765F4775}" type="slidenum">
              <a:rPr lang="en-US" smtClean="0"/>
              <a:t>7</a:t>
            </a:fld>
            <a:endParaRPr lang="en-US"/>
          </a:p>
        </p:txBody>
      </p:sp>
    </p:spTree>
    <p:extLst>
      <p:ext uri="{BB962C8B-B14F-4D97-AF65-F5344CB8AC3E}">
        <p14:creationId xmlns:p14="http://schemas.microsoft.com/office/powerpoint/2010/main" val="3419217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17949E-41F7-4458-B6CE-7731765F4775}" type="slidenum">
              <a:rPr lang="en-US" smtClean="0"/>
              <a:t>8</a:t>
            </a:fld>
            <a:endParaRPr lang="en-US"/>
          </a:p>
        </p:txBody>
      </p:sp>
    </p:spTree>
    <p:extLst>
      <p:ext uri="{BB962C8B-B14F-4D97-AF65-F5344CB8AC3E}">
        <p14:creationId xmlns:p14="http://schemas.microsoft.com/office/powerpoint/2010/main" val="947824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17949E-41F7-4458-B6CE-7731765F47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6584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Generative AI: Charting A New Course In Healthcare</a:t>
            </a:r>
            <a:endParaRPr lang="en-US" dirty="0"/>
          </a:p>
          <a:p>
            <a:r>
              <a:rPr lang="en-US" dirty="0">
                <a:hlinkClick r:id="rId4"/>
              </a:rPr>
              <a:t>Generative AI In Healthcare: The Benefits And Challenges</a:t>
            </a:r>
            <a:endParaRPr lang="en-US" dirty="0"/>
          </a:p>
        </p:txBody>
      </p:sp>
      <p:sp>
        <p:nvSpPr>
          <p:cNvPr id="4" name="Slide Number Placeholder 3"/>
          <p:cNvSpPr>
            <a:spLocks noGrp="1"/>
          </p:cNvSpPr>
          <p:nvPr>
            <p:ph type="sldNum" sz="quarter" idx="5"/>
          </p:nvPr>
        </p:nvSpPr>
        <p:spPr/>
        <p:txBody>
          <a:bodyPr/>
          <a:lstStyle/>
          <a:p>
            <a:pPr defTabSz="942289">
              <a:defRPr/>
            </a:pPr>
            <a:fld id="{BE3777DE-0F36-401F-825D-68DAF26C207D}" type="slidenum">
              <a:rPr lang="en-US">
                <a:solidFill>
                  <a:prstClr val="black"/>
                </a:solidFill>
                <a:latin typeface="Aptos" panose="02110004020202020204"/>
              </a:rPr>
              <a:pPr defTabSz="942289">
                <a:defRPr/>
              </a:pPr>
              <a:t>10</a:t>
            </a:fld>
            <a:endParaRPr lang="en-US">
              <a:solidFill>
                <a:prstClr val="black"/>
              </a:solidFill>
              <a:latin typeface="Aptos" panose="02110004020202020204"/>
            </a:endParaRPr>
          </a:p>
        </p:txBody>
      </p:sp>
    </p:spTree>
    <p:extLst>
      <p:ext uri="{BB962C8B-B14F-4D97-AF65-F5344CB8AC3E}">
        <p14:creationId xmlns:p14="http://schemas.microsoft.com/office/powerpoint/2010/main" val="2363984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p>
        </p:txBody>
      </p:sp>
      <p:sp>
        <p:nvSpPr>
          <p:cNvPr id="4" name="Slide Number Placeholder 3"/>
          <p:cNvSpPr>
            <a:spLocks noGrp="1"/>
          </p:cNvSpPr>
          <p:nvPr>
            <p:ph type="sldNum" sz="quarter" idx="5"/>
          </p:nvPr>
        </p:nvSpPr>
        <p:spPr/>
        <p:txBody>
          <a:bodyPr/>
          <a:lstStyle/>
          <a:p>
            <a:fld id="{4C839522-CCB0-488F-B145-CEE61FBE68D8}" type="slidenum">
              <a:rPr lang="en-US" smtClean="0"/>
              <a:t>11</a:t>
            </a:fld>
            <a:endParaRPr lang="en-US"/>
          </a:p>
        </p:txBody>
      </p:sp>
    </p:spTree>
    <p:extLst>
      <p:ext uri="{BB962C8B-B14F-4D97-AF65-F5344CB8AC3E}">
        <p14:creationId xmlns:p14="http://schemas.microsoft.com/office/powerpoint/2010/main" val="3455234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DISCUSSION: How many of you read this year’s index? What research reports do you ready and what format do you find most digestible? </a:t>
            </a:r>
          </a:p>
          <a:p>
            <a:r>
              <a:rPr lang="en-US">
                <a:hlinkClick r:id="rId3"/>
              </a:rPr>
              <a:t>2023 CAQH Index Report Reveals Transformative Forces</a:t>
            </a:r>
            <a:endParaRPr lang="en-US"/>
          </a:p>
        </p:txBody>
      </p:sp>
      <p:sp>
        <p:nvSpPr>
          <p:cNvPr id="4" name="Slide Number Placeholder 3"/>
          <p:cNvSpPr>
            <a:spLocks noGrp="1"/>
          </p:cNvSpPr>
          <p:nvPr>
            <p:ph type="sldNum" sz="quarter" idx="5"/>
          </p:nvPr>
        </p:nvSpPr>
        <p:spPr/>
        <p:txBody>
          <a:bodyPr/>
          <a:lstStyle/>
          <a:p>
            <a:fld id="{04FD4518-AE90-4292-A357-8FDFF14FBF8E}" type="slidenum">
              <a:rPr lang="en-US" smtClean="0"/>
              <a:t>12</a:t>
            </a:fld>
            <a:endParaRPr lang="en-US"/>
          </a:p>
        </p:txBody>
      </p:sp>
    </p:spTree>
    <p:extLst>
      <p:ext uri="{BB962C8B-B14F-4D97-AF65-F5344CB8AC3E}">
        <p14:creationId xmlns:p14="http://schemas.microsoft.com/office/powerpoint/2010/main" val="2062835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1E3E71"/>
        </a:solidFill>
        <a:effectLst/>
      </p:bgPr>
    </p:bg>
    <p:spTree>
      <p:nvGrpSpPr>
        <p:cNvPr id="1" name=""/>
        <p:cNvGrpSpPr/>
        <p:nvPr/>
      </p:nvGrpSpPr>
      <p:grpSpPr>
        <a:xfrm>
          <a:off x="0" y="0"/>
          <a:ext cx="0" cy="0"/>
          <a:chOff x="0" y="0"/>
          <a:chExt cx="0" cy="0"/>
        </a:xfrm>
      </p:grpSpPr>
      <p:sp>
        <p:nvSpPr>
          <p:cNvPr id="27" name="Freeform 9">
            <a:extLst>
              <a:ext uri="{FF2B5EF4-FFF2-40B4-BE49-F238E27FC236}">
                <a16:creationId xmlns:a16="http://schemas.microsoft.com/office/drawing/2014/main" id="{817A3EE4-E855-07AB-A587-356CD2500A28}"/>
              </a:ext>
            </a:extLst>
          </p:cNvPr>
          <p:cNvSpPr>
            <a:spLocks noEditPoints="1"/>
          </p:cNvSpPr>
          <p:nvPr userDrawn="1"/>
        </p:nvSpPr>
        <p:spPr bwMode="auto">
          <a:xfrm>
            <a:off x="8904567" y="685669"/>
            <a:ext cx="2713467" cy="647831"/>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Rectangle 22">
            <a:extLst>
              <a:ext uri="{FF2B5EF4-FFF2-40B4-BE49-F238E27FC236}">
                <a16:creationId xmlns:a16="http://schemas.microsoft.com/office/drawing/2014/main" id="{F83F9085-1DFE-0E9F-309A-77614E1C87A4}"/>
              </a:ext>
            </a:extLst>
          </p:cNvPr>
          <p:cNvSpPr/>
          <p:nvPr userDrawn="1"/>
        </p:nvSpPr>
        <p:spPr>
          <a:xfrm>
            <a:off x="-1" y="1247831"/>
            <a:ext cx="12192785" cy="5610168"/>
          </a:xfrm>
          <a:custGeom>
            <a:avLst/>
            <a:gdLst>
              <a:gd name="connsiteX0" fmla="*/ 0 w 12192000"/>
              <a:gd name="connsiteY0" fmla="*/ 0 h 5600698"/>
              <a:gd name="connsiteX1" fmla="*/ 12192000 w 12192000"/>
              <a:gd name="connsiteY1" fmla="*/ 0 h 5600698"/>
              <a:gd name="connsiteX2" fmla="*/ 12192000 w 12192000"/>
              <a:gd name="connsiteY2" fmla="*/ 5600698 h 5600698"/>
              <a:gd name="connsiteX3" fmla="*/ 0 w 12192000"/>
              <a:gd name="connsiteY3" fmla="*/ 5600698 h 5600698"/>
              <a:gd name="connsiteX4" fmla="*/ 0 w 12192000"/>
              <a:gd name="connsiteY4" fmla="*/ 0 h 5600698"/>
              <a:gd name="connsiteX0" fmla="*/ 0 w 12200164"/>
              <a:gd name="connsiteY0" fmla="*/ 0 h 5600698"/>
              <a:gd name="connsiteX1" fmla="*/ 12200164 w 12200164"/>
              <a:gd name="connsiteY1" fmla="*/ 3118757 h 5600698"/>
              <a:gd name="connsiteX2" fmla="*/ 12192000 w 12200164"/>
              <a:gd name="connsiteY2" fmla="*/ 5600698 h 5600698"/>
              <a:gd name="connsiteX3" fmla="*/ 0 w 12200164"/>
              <a:gd name="connsiteY3" fmla="*/ 5600698 h 5600698"/>
              <a:gd name="connsiteX4" fmla="*/ 0 w 12200164"/>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6477 h 5607175"/>
              <a:gd name="connsiteX1" fmla="*/ 12191999 w 12192785"/>
              <a:gd name="connsiteY1" fmla="*/ 1533198 h 5607175"/>
              <a:gd name="connsiteX2" fmla="*/ 12192000 w 12192785"/>
              <a:gd name="connsiteY2" fmla="*/ 5607175 h 5607175"/>
              <a:gd name="connsiteX3" fmla="*/ 0 w 12192785"/>
              <a:gd name="connsiteY3" fmla="*/ 5607175 h 5607175"/>
              <a:gd name="connsiteX4" fmla="*/ 0 w 12192785"/>
              <a:gd name="connsiteY4" fmla="*/ 6477 h 5607175"/>
              <a:gd name="connsiteX0" fmla="*/ 8164 w 12192785"/>
              <a:gd name="connsiteY0" fmla="*/ 8524 h 5462265"/>
              <a:gd name="connsiteX1" fmla="*/ 12191999 w 12192785"/>
              <a:gd name="connsiteY1" fmla="*/ 1388288 h 5462265"/>
              <a:gd name="connsiteX2" fmla="*/ 12192000 w 12192785"/>
              <a:gd name="connsiteY2" fmla="*/ 5462265 h 5462265"/>
              <a:gd name="connsiteX3" fmla="*/ 0 w 12192785"/>
              <a:gd name="connsiteY3" fmla="*/ 5462265 h 5462265"/>
              <a:gd name="connsiteX4" fmla="*/ 8164 w 12192785"/>
              <a:gd name="connsiteY4" fmla="*/ 8524 h 5462265"/>
              <a:gd name="connsiteX0" fmla="*/ 16329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16329 w 12192785"/>
              <a:gd name="connsiteY4" fmla="*/ 6657 h 5591026"/>
              <a:gd name="connsiteX0" fmla="*/ 8164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8164 w 12192785"/>
              <a:gd name="connsiteY4" fmla="*/ 6657 h 5591026"/>
              <a:gd name="connsiteX0" fmla="*/ 8164 w 12192785"/>
              <a:gd name="connsiteY0" fmla="*/ 24223 h 5608592"/>
              <a:gd name="connsiteX1" fmla="*/ 12191999 w 12192785"/>
              <a:gd name="connsiteY1" fmla="*/ 1534615 h 5608592"/>
              <a:gd name="connsiteX2" fmla="*/ 12192000 w 12192785"/>
              <a:gd name="connsiteY2" fmla="*/ 5608592 h 5608592"/>
              <a:gd name="connsiteX3" fmla="*/ 0 w 12192785"/>
              <a:gd name="connsiteY3" fmla="*/ 5608592 h 5608592"/>
              <a:gd name="connsiteX4" fmla="*/ 8164 w 12192785"/>
              <a:gd name="connsiteY4" fmla="*/ 24223 h 5608592"/>
              <a:gd name="connsiteX0" fmla="*/ 8164 w 12192785"/>
              <a:gd name="connsiteY0" fmla="*/ 15704 h 5600073"/>
              <a:gd name="connsiteX1" fmla="*/ 12191999 w 12192785"/>
              <a:gd name="connsiteY1" fmla="*/ 1526096 h 5600073"/>
              <a:gd name="connsiteX2" fmla="*/ 12192000 w 12192785"/>
              <a:gd name="connsiteY2" fmla="*/ 5600073 h 5600073"/>
              <a:gd name="connsiteX3" fmla="*/ 0 w 12192785"/>
              <a:gd name="connsiteY3" fmla="*/ 5600073 h 5600073"/>
              <a:gd name="connsiteX4" fmla="*/ 8164 w 12192785"/>
              <a:gd name="connsiteY4" fmla="*/ 15704 h 5600073"/>
              <a:gd name="connsiteX0" fmla="*/ 8164 w 12192785"/>
              <a:gd name="connsiteY0" fmla="*/ 25799 h 5610168"/>
              <a:gd name="connsiteX1" fmla="*/ 12191999 w 12192785"/>
              <a:gd name="connsiteY1" fmla="*/ 1536191 h 5610168"/>
              <a:gd name="connsiteX2" fmla="*/ 12192000 w 12192785"/>
              <a:gd name="connsiteY2" fmla="*/ 5610168 h 5610168"/>
              <a:gd name="connsiteX3" fmla="*/ 0 w 12192785"/>
              <a:gd name="connsiteY3" fmla="*/ 5610168 h 5610168"/>
              <a:gd name="connsiteX4" fmla="*/ 8164 w 12192785"/>
              <a:gd name="connsiteY4" fmla="*/ 25799 h 5610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785" h="5610168">
                <a:moveTo>
                  <a:pt x="8164" y="25799"/>
                </a:moveTo>
                <a:cubicBezTo>
                  <a:pt x="3541485" y="-126601"/>
                  <a:pt x="8413748" y="398634"/>
                  <a:pt x="12191999" y="1536191"/>
                </a:cubicBezTo>
                <a:cubicBezTo>
                  <a:pt x="12189278" y="2363505"/>
                  <a:pt x="12194721" y="4782854"/>
                  <a:pt x="12192000" y="5610168"/>
                </a:cubicBezTo>
                <a:lnTo>
                  <a:pt x="0" y="5610168"/>
                </a:lnTo>
                <a:cubicBezTo>
                  <a:pt x="2721" y="3792254"/>
                  <a:pt x="5443" y="1843713"/>
                  <a:pt x="8164" y="25799"/>
                </a:cubicBezTo>
                <a:close/>
              </a:path>
            </a:pathLst>
          </a:custGeom>
          <a:gradFill>
            <a:gsLst>
              <a:gs pos="0">
                <a:schemeClr val="accent1"/>
              </a:gs>
              <a:gs pos="56000">
                <a:srgbClr val="00599A"/>
              </a:gs>
              <a:gs pos="100000">
                <a:srgbClr val="00A6E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5">
            <a:extLst>
              <a:ext uri="{FF2B5EF4-FFF2-40B4-BE49-F238E27FC236}">
                <a16:creationId xmlns:a16="http://schemas.microsoft.com/office/drawing/2014/main" id="{A6DB7C1B-C63D-BA24-9C96-E02DB64FD5EC}"/>
              </a:ext>
            </a:extLst>
          </p:cNvPr>
          <p:cNvSpPr>
            <a:spLocks noGrp="1"/>
          </p:cNvSpPr>
          <p:nvPr>
            <p:ph type="body" sz="quarter" idx="13"/>
          </p:nvPr>
        </p:nvSpPr>
        <p:spPr>
          <a:xfrm>
            <a:off x="911578" y="5150651"/>
            <a:ext cx="7441847" cy="853833"/>
          </a:xfrm>
        </p:spPr>
        <p:txBody>
          <a:bodyPr/>
          <a:lstStyle>
            <a:lvl1pPr marL="0" indent="0">
              <a:buNone/>
              <a:defRPr sz="1500" b="1">
                <a:solidFill>
                  <a:schemeClr val="bg1"/>
                </a:solidFill>
              </a:defRPr>
            </a:lvl1pPr>
            <a:lvl2pPr marL="0" indent="0">
              <a:spcBef>
                <a:spcPts val="300"/>
              </a:spcBef>
              <a:buNone/>
              <a:defRPr sz="1500">
                <a:solidFill>
                  <a:schemeClr val="bg1"/>
                </a:solidFill>
              </a:defRPr>
            </a:lvl2pPr>
            <a:lvl3pPr marL="428625" indent="0">
              <a:buNone/>
              <a:defRPr>
                <a:solidFill>
                  <a:schemeClr val="bg1"/>
                </a:solidFill>
              </a:defRPr>
            </a:lvl3pPr>
            <a:lvl4pPr marL="631825" indent="0">
              <a:buNone/>
              <a:defRPr>
                <a:solidFill>
                  <a:schemeClr val="bg1"/>
                </a:solidFill>
              </a:defRPr>
            </a:lvl4pPr>
            <a:lvl5pPr marL="857250" indent="0">
              <a:buNone/>
              <a:defRPr>
                <a:solidFill>
                  <a:schemeClr val="bg1"/>
                </a:solidFill>
              </a:defRPr>
            </a:lvl5pPr>
          </a:lstStyle>
          <a:p>
            <a:pPr lvl="0"/>
            <a:r>
              <a:rPr lang="en-US"/>
              <a:t>Click to edit Master text styles</a:t>
            </a:r>
          </a:p>
          <a:p>
            <a:pPr lvl="1"/>
            <a:r>
              <a:rPr lang="en-US"/>
              <a:t>Second level</a:t>
            </a:r>
          </a:p>
        </p:txBody>
      </p:sp>
      <p:sp>
        <p:nvSpPr>
          <p:cNvPr id="3" name="Title 1">
            <a:extLst>
              <a:ext uri="{FF2B5EF4-FFF2-40B4-BE49-F238E27FC236}">
                <a16:creationId xmlns:a16="http://schemas.microsoft.com/office/drawing/2014/main" id="{26BD04E3-4D56-92E7-F5EC-5D8DB6690518}"/>
              </a:ext>
            </a:extLst>
          </p:cNvPr>
          <p:cNvSpPr>
            <a:spLocks noGrp="1"/>
          </p:cNvSpPr>
          <p:nvPr>
            <p:ph type="ctrTitle"/>
          </p:nvPr>
        </p:nvSpPr>
        <p:spPr>
          <a:xfrm>
            <a:off x="887086" y="1715484"/>
            <a:ext cx="7236378" cy="1781402"/>
          </a:xfrm>
        </p:spPr>
        <p:txBody>
          <a:bodyPr lIns="0" tIns="0" rIns="0" bIns="0" anchor="b">
            <a:noAutofit/>
          </a:bodyPr>
          <a:lstStyle>
            <a:lvl1pPr algn="l">
              <a:defRPr sz="3600" b="1"/>
            </a:lvl1pPr>
          </a:lstStyle>
          <a:p>
            <a:r>
              <a:rPr lang="en-US"/>
              <a:t>Click to edit Master title style</a:t>
            </a:r>
          </a:p>
        </p:txBody>
      </p:sp>
      <p:sp>
        <p:nvSpPr>
          <p:cNvPr id="4" name="Subtitle 2">
            <a:extLst>
              <a:ext uri="{FF2B5EF4-FFF2-40B4-BE49-F238E27FC236}">
                <a16:creationId xmlns:a16="http://schemas.microsoft.com/office/drawing/2014/main" id="{42EF4E99-D2F8-676A-290E-6997E2EA6E18}"/>
              </a:ext>
            </a:extLst>
          </p:cNvPr>
          <p:cNvSpPr>
            <a:spLocks noGrp="1"/>
          </p:cNvSpPr>
          <p:nvPr>
            <p:ph type="subTitle" idx="1"/>
          </p:nvPr>
        </p:nvSpPr>
        <p:spPr>
          <a:xfrm>
            <a:off x="887086" y="3818963"/>
            <a:ext cx="7236378" cy="948979"/>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4D3AEA66-177B-376A-09AC-C9060711291F}"/>
              </a:ext>
            </a:extLst>
          </p:cNvPr>
          <p:cNvCxnSpPr/>
          <p:nvPr userDrawn="1"/>
        </p:nvCxnSpPr>
        <p:spPr>
          <a:xfrm>
            <a:off x="903414" y="4906736"/>
            <a:ext cx="273785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3">
            <a:extLst>
              <a:ext uri="{FF2B5EF4-FFF2-40B4-BE49-F238E27FC236}">
                <a16:creationId xmlns:a16="http://schemas.microsoft.com/office/drawing/2014/main" id="{2ED37B65-16BD-49A1-A434-1893CC582303}"/>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mtClean="0">
                <a:solidFill>
                  <a:schemeClr val="bg1"/>
                </a:solidFill>
              </a:rPr>
              <a:pPr lvl="0"/>
              <a:t>‹#›</a:t>
            </a:fld>
            <a:endParaRPr lang="en-US" dirty="0">
              <a:solidFill>
                <a:schemeClr val="bg1"/>
              </a:solidFill>
            </a:endParaRPr>
          </a:p>
        </p:txBody>
      </p:sp>
      <p:sp>
        <p:nvSpPr>
          <p:cNvPr id="8" name="Footer Placeholder 1">
            <a:extLst>
              <a:ext uri="{FF2B5EF4-FFF2-40B4-BE49-F238E27FC236}">
                <a16:creationId xmlns:a16="http://schemas.microsoft.com/office/drawing/2014/main" id="{3B02AF8E-4955-6674-D75E-263277F39A1E}"/>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solidFill>
                  <a:schemeClr val="bg1"/>
                </a:solidFill>
              </a:rPr>
              <a:t>© 2024 CAQH, All Rights Reserved. Confidential and Proprietary.</a:t>
            </a:r>
          </a:p>
        </p:txBody>
      </p:sp>
    </p:spTree>
    <p:extLst>
      <p:ext uri="{BB962C8B-B14F-4D97-AF65-F5344CB8AC3E}">
        <p14:creationId xmlns:p14="http://schemas.microsoft.com/office/powerpoint/2010/main" val="120536792"/>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Blue-Main-Header">
    <p:bg>
      <p:bgPr>
        <a:gradFill flip="none" rotWithShape="1">
          <a:gsLst>
            <a:gs pos="64000">
              <a:srgbClr val="1462AD"/>
            </a:gs>
            <a:gs pos="12000">
              <a:srgbClr val="22305B"/>
            </a:gs>
          </a:gsLst>
          <a:lin ang="2700000" scaled="1"/>
          <a:tileRect/>
        </a:gradFill>
        <a:effectLst/>
      </p:bgPr>
    </p:bg>
    <p:spTree>
      <p:nvGrpSpPr>
        <p:cNvPr id="1" name=""/>
        <p:cNvGrpSpPr/>
        <p:nvPr/>
      </p:nvGrpSpPr>
      <p:grpSpPr>
        <a:xfrm>
          <a:off x="0" y="0"/>
          <a:ext cx="0" cy="0"/>
          <a:chOff x="0" y="0"/>
          <a:chExt cx="0" cy="0"/>
        </a:xfrm>
      </p:grpSpPr>
      <p:pic>
        <p:nvPicPr>
          <p:cNvPr id="8" name="Picture 7" descr="A black background with dots and lines&#10;&#10;Description automatically generated">
            <a:extLst>
              <a:ext uri="{FF2B5EF4-FFF2-40B4-BE49-F238E27FC236}">
                <a16:creationId xmlns:a16="http://schemas.microsoft.com/office/drawing/2014/main" id="{D2C06058-D7E9-6804-ACEA-0DC4E68D880A}"/>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776" y="0"/>
            <a:ext cx="12190447" cy="6858000"/>
          </a:xfrm>
          <a:prstGeom prst="rect">
            <a:avLst/>
          </a:prstGeom>
        </p:spPr>
      </p:pic>
      <p:sp>
        <p:nvSpPr>
          <p:cNvPr id="2" name="Freeform 9">
            <a:extLst>
              <a:ext uri="{FF2B5EF4-FFF2-40B4-BE49-F238E27FC236}">
                <a16:creationId xmlns:a16="http://schemas.microsoft.com/office/drawing/2014/main" id="{B48CCB78-1AD0-A76F-7C89-0897035A06F4}"/>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50287249"/>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Blue-Main-Header">
    <p:bg>
      <p:bgPr>
        <a:gradFill flip="none" rotWithShape="1">
          <a:gsLst>
            <a:gs pos="64000">
              <a:srgbClr val="1462AD"/>
            </a:gs>
            <a:gs pos="12000">
              <a:srgbClr val="22305B"/>
            </a:gs>
          </a:gsLst>
          <a:lin ang="2700000" scaled="1"/>
          <a:tileRect/>
        </a:gradFill>
        <a:effectLst/>
      </p:bgPr>
    </p:bg>
    <p:spTree>
      <p:nvGrpSpPr>
        <p:cNvPr id="1" name=""/>
        <p:cNvGrpSpPr/>
        <p:nvPr/>
      </p:nvGrpSpPr>
      <p:grpSpPr>
        <a:xfrm>
          <a:off x="0" y="0"/>
          <a:ext cx="0" cy="0"/>
          <a:chOff x="0" y="0"/>
          <a:chExt cx="0" cy="0"/>
        </a:xfrm>
      </p:grpSpPr>
      <p:sp>
        <p:nvSpPr>
          <p:cNvPr id="2" name="Freeform 9">
            <a:extLst>
              <a:ext uri="{FF2B5EF4-FFF2-40B4-BE49-F238E27FC236}">
                <a16:creationId xmlns:a16="http://schemas.microsoft.com/office/drawing/2014/main" id="{B48CCB78-1AD0-A76F-7C89-0897035A06F4}"/>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5966574"/>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ue-Light-Header">
    <p:spTree>
      <p:nvGrpSpPr>
        <p:cNvPr id="1" name=""/>
        <p:cNvGrpSpPr/>
        <p:nvPr/>
      </p:nvGrpSpPr>
      <p:grpSpPr>
        <a:xfrm>
          <a:off x="0" y="0"/>
          <a:ext cx="0" cy="0"/>
          <a:chOff x="0" y="0"/>
          <a:chExt cx="0" cy="0"/>
        </a:xfrm>
      </p:grpSpPr>
      <p:pic>
        <p:nvPicPr>
          <p:cNvPr id="6" name="Picture 5" descr="A black background with dots and lines&#10;&#10;Description automatically generated">
            <a:extLst>
              <a:ext uri="{FF2B5EF4-FFF2-40B4-BE49-F238E27FC236}">
                <a16:creationId xmlns:a16="http://schemas.microsoft.com/office/drawing/2014/main" id="{19E9D82B-0727-978D-D326-2D5F7D3583E9}"/>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29827" y="0"/>
            <a:ext cx="12190447" cy="6858000"/>
          </a:xfrm>
          <a:prstGeom prst="rect">
            <a:avLst/>
          </a:prstGeom>
        </p:spPr>
      </p:pic>
      <p:sp>
        <p:nvSpPr>
          <p:cNvPr id="3" name="Rectangle 2">
            <a:extLst>
              <a:ext uri="{FF2B5EF4-FFF2-40B4-BE49-F238E27FC236}">
                <a16:creationId xmlns:a16="http://schemas.microsoft.com/office/drawing/2014/main" id="{668EAB0C-27CE-02CD-A064-021FDE75AE83}"/>
              </a:ext>
            </a:extLst>
          </p:cNvPr>
          <p:cNvSpPr/>
          <p:nvPr userDrawn="1"/>
        </p:nvSpPr>
        <p:spPr>
          <a:xfrm>
            <a:off x="0" y="0"/>
            <a:ext cx="12192000" cy="6858000"/>
          </a:xfrm>
          <a:prstGeom prst="rect">
            <a:avLst/>
          </a:prstGeom>
          <a:gradFill>
            <a:gsLst>
              <a:gs pos="0">
                <a:schemeClr val="bg1"/>
              </a:gs>
              <a:gs pos="100000">
                <a:schemeClr val="accent2">
                  <a:alpha val="68000"/>
                </a:schemeClr>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ext Placeholder 2">
            <a:extLst>
              <a:ext uri="{FF2B5EF4-FFF2-40B4-BE49-F238E27FC236}">
                <a16:creationId xmlns:a16="http://schemas.microsoft.com/office/drawing/2014/main" id="{E6C1CEFE-DCAC-56C8-1D27-F530AFE03971}"/>
              </a:ext>
            </a:extLst>
          </p:cNvPr>
          <p:cNvSpPr>
            <a:spLocks noGrp="1"/>
          </p:cNvSpPr>
          <p:nvPr>
            <p:ph type="body" sz="quarter" idx="16" hasCustomPrompt="1"/>
          </p:nvPr>
        </p:nvSpPr>
        <p:spPr>
          <a:xfrm>
            <a:off x="775504" y="480349"/>
            <a:ext cx="10625921" cy="450850"/>
          </a:xfrm>
          <a:prstGeom prst="rect">
            <a:avLst/>
          </a:prstGeom>
          <a:noFill/>
        </p:spPr>
        <p:txBody>
          <a:bodyPr vert="horz" wrap="square" lIns="0" tIns="0" rIns="0" bIns="0" rtlCol="0" anchor="b">
            <a:noAutofit/>
          </a:bodyPr>
          <a:lstStyle>
            <a:lvl1pPr algn="ctr">
              <a:defRPr lang="en-US" sz="1125" b="1" spc="375" dirty="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buNone/>
            </a:pPr>
            <a:r>
              <a:rPr lang="en-US"/>
              <a:t>EYEBROW ABOVE HEADLINE</a:t>
            </a:r>
          </a:p>
        </p:txBody>
      </p:sp>
      <p:sp>
        <p:nvSpPr>
          <p:cNvPr id="4" name="Title 1">
            <a:extLst>
              <a:ext uri="{FF2B5EF4-FFF2-40B4-BE49-F238E27FC236}">
                <a16:creationId xmlns:a16="http://schemas.microsoft.com/office/drawing/2014/main" id="{52CE857B-E960-149F-506E-781A78D6533A}"/>
              </a:ext>
            </a:extLst>
          </p:cNvPr>
          <p:cNvSpPr>
            <a:spLocks noGrp="1"/>
          </p:cNvSpPr>
          <p:nvPr>
            <p:ph type="title" hasCustomPrompt="1"/>
          </p:nvPr>
        </p:nvSpPr>
        <p:spPr>
          <a:xfrm>
            <a:off x="752437" y="1024862"/>
            <a:ext cx="10625921" cy="852627"/>
          </a:xfrm>
          <a:prstGeom prst="rect">
            <a:avLst/>
          </a:prstGeom>
        </p:spPr>
        <p:txBody>
          <a:bodyPr lIns="0" tIns="0" rIns="0" bIns="0" anchor="t"/>
          <a:lstStyle>
            <a:lvl1pPr algn="ctr">
              <a:defRPr lang="en-US" sz="3200" dirty="0">
                <a:solidFill>
                  <a:schemeClr val="tx1"/>
                </a:solidFill>
              </a:defRPr>
            </a:lvl1pPr>
          </a:lstStyle>
          <a:p>
            <a:pPr lvl="0"/>
            <a:r>
              <a:rPr lang="en-US"/>
              <a:t>Type Brief Title Here with Eyebrow if Needed</a:t>
            </a:r>
          </a:p>
        </p:txBody>
      </p:sp>
      <p:sp>
        <p:nvSpPr>
          <p:cNvPr id="5" name="Freeform 9">
            <a:extLst>
              <a:ext uri="{FF2B5EF4-FFF2-40B4-BE49-F238E27FC236}">
                <a16:creationId xmlns:a16="http://schemas.microsoft.com/office/drawing/2014/main" id="{FF79410B-436E-5638-1521-7EE6D6D9DED6}"/>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Slide Number Placeholder 3">
            <a:extLst>
              <a:ext uri="{FF2B5EF4-FFF2-40B4-BE49-F238E27FC236}">
                <a16:creationId xmlns:a16="http://schemas.microsoft.com/office/drawing/2014/main" id="{453BE401-59AF-3ED3-1C43-CBE5337A40FB}"/>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mtClean="0">
                <a:solidFill>
                  <a:schemeClr val="bg1"/>
                </a:solidFill>
              </a:rPr>
              <a:pPr lvl="0"/>
              <a:t>‹#›</a:t>
            </a:fld>
            <a:endParaRPr lang="en-US" dirty="0">
              <a:solidFill>
                <a:schemeClr val="bg1"/>
              </a:solidFill>
            </a:endParaRPr>
          </a:p>
        </p:txBody>
      </p:sp>
      <p:sp>
        <p:nvSpPr>
          <p:cNvPr id="9" name="Footer Placeholder 1">
            <a:extLst>
              <a:ext uri="{FF2B5EF4-FFF2-40B4-BE49-F238E27FC236}">
                <a16:creationId xmlns:a16="http://schemas.microsoft.com/office/drawing/2014/main" id="{DFA2BE66-71B0-6840-3D9F-3FB8F684BDD0}"/>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solidFill>
                  <a:schemeClr val="bg1"/>
                </a:solidFill>
              </a:rPr>
              <a:t>© 2024 CAQH, All Rights Reserved. Confidential and Proprietary.</a:t>
            </a:r>
          </a:p>
        </p:txBody>
      </p:sp>
    </p:spTree>
    <p:extLst>
      <p:ext uri="{BB962C8B-B14F-4D97-AF65-F5344CB8AC3E}">
        <p14:creationId xmlns:p14="http://schemas.microsoft.com/office/powerpoint/2010/main" val="2490681421"/>
      </p:ext>
    </p:extLst>
  </p:cSld>
  <p:clrMapOvr>
    <a:masterClrMapping/>
  </p:clrMapOvr>
  <p:transition spd="slow" advTm="10000">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Purple-Dark-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8EAB0C-27CE-02CD-A064-021FDE75AE83}"/>
              </a:ext>
            </a:extLst>
          </p:cNvPr>
          <p:cNvSpPr/>
          <p:nvPr userDrawn="1"/>
        </p:nvSpPr>
        <p:spPr>
          <a:xfrm>
            <a:off x="0" y="0"/>
            <a:ext cx="12192000" cy="6866593"/>
          </a:xfrm>
          <a:prstGeom prst="rect">
            <a:avLst/>
          </a:prstGeom>
          <a:gradFill flip="none" rotWithShape="1">
            <a:gsLst>
              <a:gs pos="64000">
                <a:srgbClr val="4A5BB6"/>
              </a:gs>
              <a:gs pos="1100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
            <a:extLst>
              <a:ext uri="{FF2B5EF4-FFF2-40B4-BE49-F238E27FC236}">
                <a16:creationId xmlns:a16="http://schemas.microsoft.com/office/drawing/2014/main" id="{FFDD4313-8AE9-D6CC-F2F4-ED88768E65BB}"/>
              </a:ext>
            </a:extLst>
          </p:cNvPr>
          <p:cNvSpPr>
            <a:spLocks noGrp="1"/>
          </p:cNvSpPr>
          <p:nvPr>
            <p:ph type="body" sz="quarter" idx="16" hasCustomPrompt="1"/>
          </p:nvPr>
        </p:nvSpPr>
        <p:spPr>
          <a:xfrm>
            <a:off x="775504" y="480349"/>
            <a:ext cx="10625921" cy="450850"/>
          </a:xfrm>
          <a:prstGeom prst="rect">
            <a:avLst/>
          </a:prstGeom>
          <a:noFill/>
        </p:spPr>
        <p:txBody>
          <a:bodyPr vert="horz" wrap="square" lIns="0" tIns="0" rIns="0" bIns="0" rtlCol="0" anchor="b">
            <a:noAutofit/>
          </a:bodyPr>
          <a:lstStyle>
            <a:lvl1pPr algn="ctr">
              <a:defRPr lang="en-US" sz="1125" b="1" spc="375" dirty="0">
                <a:solidFill>
                  <a:srgbClr val="8291FF"/>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buNone/>
            </a:pPr>
            <a:r>
              <a:rPr lang="en-US"/>
              <a:t>EYEBROW ABOVE HEADLINE</a:t>
            </a:r>
          </a:p>
        </p:txBody>
      </p:sp>
      <p:sp>
        <p:nvSpPr>
          <p:cNvPr id="4" name="Title 1">
            <a:extLst>
              <a:ext uri="{FF2B5EF4-FFF2-40B4-BE49-F238E27FC236}">
                <a16:creationId xmlns:a16="http://schemas.microsoft.com/office/drawing/2014/main" id="{7FD0AD07-2189-6C07-50E2-6A7D661130E6}"/>
              </a:ext>
            </a:extLst>
          </p:cNvPr>
          <p:cNvSpPr>
            <a:spLocks noGrp="1"/>
          </p:cNvSpPr>
          <p:nvPr>
            <p:ph type="title" hasCustomPrompt="1"/>
          </p:nvPr>
        </p:nvSpPr>
        <p:spPr>
          <a:xfrm>
            <a:off x="752437" y="1024862"/>
            <a:ext cx="10625921" cy="852627"/>
          </a:xfrm>
          <a:prstGeom prst="rect">
            <a:avLst/>
          </a:prstGeom>
        </p:spPr>
        <p:txBody>
          <a:bodyPr lIns="0" tIns="0" rIns="0" bIns="0" anchor="t"/>
          <a:lstStyle>
            <a:lvl1pPr algn="ctr">
              <a:defRPr lang="en-US" sz="3200" dirty="0">
                <a:solidFill>
                  <a:schemeClr val="bg1"/>
                </a:solidFill>
              </a:defRPr>
            </a:lvl1pPr>
          </a:lstStyle>
          <a:p>
            <a:pPr lvl="0"/>
            <a:r>
              <a:rPr lang="en-US"/>
              <a:t>Type Brief Title Here with Eyebrow if Needed</a:t>
            </a:r>
          </a:p>
        </p:txBody>
      </p:sp>
      <p:sp>
        <p:nvSpPr>
          <p:cNvPr id="5" name="Freeform 9">
            <a:extLst>
              <a:ext uri="{FF2B5EF4-FFF2-40B4-BE49-F238E27FC236}">
                <a16:creationId xmlns:a16="http://schemas.microsoft.com/office/drawing/2014/main" id="{BAE23025-282D-B0EE-C580-04FE1755D991}"/>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3">
            <a:extLst>
              <a:ext uri="{FF2B5EF4-FFF2-40B4-BE49-F238E27FC236}">
                <a16:creationId xmlns:a16="http://schemas.microsoft.com/office/drawing/2014/main" id="{CE2FA755-36CA-A551-1E5F-82B460685F40}"/>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mtClean="0">
                <a:solidFill>
                  <a:schemeClr val="bg1">
                    <a:lumMod val="85000"/>
                  </a:schemeClr>
                </a:solidFill>
              </a:rPr>
              <a:pPr lvl="0"/>
              <a:t>‹#›</a:t>
            </a:fld>
            <a:endParaRPr lang="en-US" dirty="0">
              <a:solidFill>
                <a:schemeClr val="bg1">
                  <a:lumMod val="85000"/>
                </a:schemeClr>
              </a:solidFill>
            </a:endParaRPr>
          </a:p>
        </p:txBody>
      </p:sp>
      <p:sp>
        <p:nvSpPr>
          <p:cNvPr id="8" name="Footer Placeholder 1">
            <a:extLst>
              <a:ext uri="{FF2B5EF4-FFF2-40B4-BE49-F238E27FC236}">
                <a16:creationId xmlns:a16="http://schemas.microsoft.com/office/drawing/2014/main" id="{D3FFC53E-09EC-539F-C223-B50FA4FAC823}"/>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solidFill>
                  <a:schemeClr val="bg1">
                    <a:lumMod val="85000"/>
                  </a:schemeClr>
                </a:solidFill>
              </a:rPr>
              <a:t>© 2024 CAQH, All Rights Reserved. Confidential and Proprietary.</a:t>
            </a:r>
          </a:p>
        </p:txBody>
      </p:sp>
    </p:spTree>
    <p:extLst>
      <p:ext uri="{BB962C8B-B14F-4D97-AF65-F5344CB8AC3E}">
        <p14:creationId xmlns:p14="http://schemas.microsoft.com/office/powerpoint/2010/main" val="335074688"/>
      </p:ext>
    </p:extLst>
  </p:cSld>
  <p:clrMapOvr>
    <a:masterClrMapping/>
  </p:clrMapOvr>
  <p:transition spd="slow" advTm="10000">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al-Light-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8EAB0C-27CE-02CD-A064-021FDE75AE83}"/>
              </a:ext>
            </a:extLst>
          </p:cNvPr>
          <p:cNvSpPr/>
          <p:nvPr userDrawn="1"/>
        </p:nvSpPr>
        <p:spPr>
          <a:xfrm>
            <a:off x="0" y="0"/>
            <a:ext cx="12192000" cy="6858000"/>
          </a:xfrm>
          <a:prstGeom prst="rect">
            <a:avLst/>
          </a:prstGeom>
          <a:gradFill>
            <a:gsLst>
              <a:gs pos="0">
                <a:schemeClr val="bg1"/>
              </a:gs>
              <a:gs pos="100000">
                <a:srgbClr val="0097AB">
                  <a:alpha val="70000"/>
                </a:srgbClr>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 name="Freeform 9">
            <a:extLst>
              <a:ext uri="{FF2B5EF4-FFF2-40B4-BE49-F238E27FC236}">
                <a16:creationId xmlns:a16="http://schemas.microsoft.com/office/drawing/2014/main" id="{69A5C4ED-3A45-F7C4-EA2A-8078054079D5}"/>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ext Placeholder 2">
            <a:extLst>
              <a:ext uri="{FF2B5EF4-FFF2-40B4-BE49-F238E27FC236}">
                <a16:creationId xmlns:a16="http://schemas.microsoft.com/office/drawing/2014/main" id="{F7E1E2CC-7324-627B-04EF-342814DADE42}"/>
              </a:ext>
            </a:extLst>
          </p:cNvPr>
          <p:cNvSpPr>
            <a:spLocks noGrp="1"/>
          </p:cNvSpPr>
          <p:nvPr>
            <p:ph type="body" sz="quarter" idx="16" hasCustomPrompt="1"/>
          </p:nvPr>
        </p:nvSpPr>
        <p:spPr>
          <a:xfrm>
            <a:off x="754956" y="151579"/>
            <a:ext cx="10625921" cy="450850"/>
          </a:xfrm>
          <a:prstGeom prst="rect">
            <a:avLst/>
          </a:prstGeom>
          <a:noFill/>
        </p:spPr>
        <p:txBody>
          <a:bodyPr vert="horz" wrap="square" lIns="0" tIns="0" rIns="0" bIns="0" rtlCol="0" anchor="b">
            <a:noAutofit/>
          </a:bodyPr>
          <a:lstStyle>
            <a:lvl1pPr algn="ctr">
              <a:defRPr lang="en-US" sz="1200" b="1" spc="375" dirty="0">
                <a:solidFill>
                  <a:srgbClr val="0097AB"/>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buNone/>
            </a:pPr>
            <a:r>
              <a:rPr lang="en-US"/>
              <a:t>EYEBROW ABOVE HEADLINE</a:t>
            </a:r>
          </a:p>
        </p:txBody>
      </p:sp>
      <p:sp>
        <p:nvSpPr>
          <p:cNvPr id="9" name="Title 1">
            <a:extLst>
              <a:ext uri="{FF2B5EF4-FFF2-40B4-BE49-F238E27FC236}">
                <a16:creationId xmlns:a16="http://schemas.microsoft.com/office/drawing/2014/main" id="{C5C65818-A3C7-48CB-A94B-8949200F52D0}"/>
              </a:ext>
            </a:extLst>
          </p:cNvPr>
          <p:cNvSpPr>
            <a:spLocks noGrp="1"/>
          </p:cNvSpPr>
          <p:nvPr>
            <p:ph type="title" hasCustomPrompt="1"/>
          </p:nvPr>
        </p:nvSpPr>
        <p:spPr>
          <a:xfrm>
            <a:off x="752437" y="696092"/>
            <a:ext cx="10625921" cy="852627"/>
          </a:xfrm>
          <a:prstGeom prst="rect">
            <a:avLst/>
          </a:prstGeom>
        </p:spPr>
        <p:txBody>
          <a:bodyPr lIns="0" tIns="0" rIns="0" bIns="0" anchor="t"/>
          <a:lstStyle>
            <a:lvl1pPr algn="ctr">
              <a:defRPr lang="en-US" sz="3200" dirty="0">
                <a:solidFill>
                  <a:schemeClr val="tx1"/>
                </a:solidFill>
              </a:defRPr>
            </a:lvl1pPr>
          </a:lstStyle>
          <a:p>
            <a:pPr lvl="0"/>
            <a:r>
              <a:rPr lang="en-US"/>
              <a:t>Type Brief Title Here with Eyebrow if Needed</a:t>
            </a:r>
          </a:p>
        </p:txBody>
      </p:sp>
      <p:sp>
        <p:nvSpPr>
          <p:cNvPr id="10" name="Footer Placeholder 3">
            <a:extLst>
              <a:ext uri="{FF2B5EF4-FFF2-40B4-BE49-F238E27FC236}">
                <a16:creationId xmlns:a16="http://schemas.microsoft.com/office/drawing/2014/main" id="{FFC25FD5-1DDC-184A-7B82-03BB872896D3}"/>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11" name="Slide Number Placeholder 3">
            <a:extLst>
              <a:ext uri="{FF2B5EF4-FFF2-40B4-BE49-F238E27FC236}">
                <a16:creationId xmlns:a16="http://schemas.microsoft.com/office/drawing/2014/main" id="{A969EF99-36B0-C981-3956-9ADADE2BEE6A}"/>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Tree>
    <p:extLst>
      <p:ext uri="{BB962C8B-B14F-4D97-AF65-F5344CB8AC3E}">
        <p14:creationId xmlns:p14="http://schemas.microsoft.com/office/powerpoint/2010/main" val="708582367"/>
      </p:ext>
    </p:extLst>
  </p:cSld>
  <p:clrMapOvr>
    <a:masterClrMapping/>
  </p:clrMapOvr>
  <p:transition spd="slow" advTm="10000">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8891EB3-9708-009D-C281-1FBBE4C635A8}"/>
              </a:ext>
            </a:extLst>
          </p:cNvPr>
          <p:cNvSpPr/>
          <p:nvPr userDrawn="1"/>
        </p:nvSpPr>
        <p:spPr>
          <a:xfrm>
            <a:off x="-1" y="1247831"/>
            <a:ext cx="12192785" cy="5610168"/>
          </a:xfrm>
          <a:custGeom>
            <a:avLst/>
            <a:gdLst>
              <a:gd name="connsiteX0" fmla="*/ 0 w 12192000"/>
              <a:gd name="connsiteY0" fmla="*/ 0 h 5600698"/>
              <a:gd name="connsiteX1" fmla="*/ 12192000 w 12192000"/>
              <a:gd name="connsiteY1" fmla="*/ 0 h 5600698"/>
              <a:gd name="connsiteX2" fmla="*/ 12192000 w 12192000"/>
              <a:gd name="connsiteY2" fmla="*/ 5600698 h 5600698"/>
              <a:gd name="connsiteX3" fmla="*/ 0 w 12192000"/>
              <a:gd name="connsiteY3" fmla="*/ 5600698 h 5600698"/>
              <a:gd name="connsiteX4" fmla="*/ 0 w 12192000"/>
              <a:gd name="connsiteY4" fmla="*/ 0 h 5600698"/>
              <a:gd name="connsiteX0" fmla="*/ 0 w 12200164"/>
              <a:gd name="connsiteY0" fmla="*/ 0 h 5600698"/>
              <a:gd name="connsiteX1" fmla="*/ 12200164 w 12200164"/>
              <a:gd name="connsiteY1" fmla="*/ 3118757 h 5600698"/>
              <a:gd name="connsiteX2" fmla="*/ 12192000 w 12200164"/>
              <a:gd name="connsiteY2" fmla="*/ 5600698 h 5600698"/>
              <a:gd name="connsiteX3" fmla="*/ 0 w 12200164"/>
              <a:gd name="connsiteY3" fmla="*/ 5600698 h 5600698"/>
              <a:gd name="connsiteX4" fmla="*/ 0 w 12200164"/>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6477 h 5607175"/>
              <a:gd name="connsiteX1" fmla="*/ 12191999 w 12192785"/>
              <a:gd name="connsiteY1" fmla="*/ 1533198 h 5607175"/>
              <a:gd name="connsiteX2" fmla="*/ 12192000 w 12192785"/>
              <a:gd name="connsiteY2" fmla="*/ 5607175 h 5607175"/>
              <a:gd name="connsiteX3" fmla="*/ 0 w 12192785"/>
              <a:gd name="connsiteY3" fmla="*/ 5607175 h 5607175"/>
              <a:gd name="connsiteX4" fmla="*/ 0 w 12192785"/>
              <a:gd name="connsiteY4" fmla="*/ 6477 h 5607175"/>
              <a:gd name="connsiteX0" fmla="*/ 8164 w 12192785"/>
              <a:gd name="connsiteY0" fmla="*/ 8524 h 5462265"/>
              <a:gd name="connsiteX1" fmla="*/ 12191999 w 12192785"/>
              <a:gd name="connsiteY1" fmla="*/ 1388288 h 5462265"/>
              <a:gd name="connsiteX2" fmla="*/ 12192000 w 12192785"/>
              <a:gd name="connsiteY2" fmla="*/ 5462265 h 5462265"/>
              <a:gd name="connsiteX3" fmla="*/ 0 w 12192785"/>
              <a:gd name="connsiteY3" fmla="*/ 5462265 h 5462265"/>
              <a:gd name="connsiteX4" fmla="*/ 8164 w 12192785"/>
              <a:gd name="connsiteY4" fmla="*/ 8524 h 5462265"/>
              <a:gd name="connsiteX0" fmla="*/ 16329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16329 w 12192785"/>
              <a:gd name="connsiteY4" fmla="*/ 6657 h 5591026"/>
              <a:gd name="connsiteX0" fmla="*/ 8164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8164 w 12192785"/>
              <a:gd name="connsiteY4" fmla="*/ 6657 h 5591026"/>
              <a:gd name="connsiteX0" fmla="*/ 8164 w 12192785"/>
              <a:gd name="connsiteY0" fmla="*/ 24223 h 5608592"/>
              <a:gd name="connsiteX1" fmla="*/ 12191999 w 12192785"/>
              <a:gd name="connsiteY1" fmla="*/ 1534615 h 5608592"/>
              <a:gd name="connsiteX2" fmla="*/ 12192000 w 12192785"/>
              <a:gd name="connsiteY2" fmla="*/ 5608592 h 5608592"/>
              <a:gd name="connsiteX3" fmla="*/ 0 w 12192785"/>
              <a:gd name="connsiteY3" fmla="*/ 5608592 h 5608592"/>
              <a:gd name="connsiteX4" fmla="*/ 8164 w 12192785"/>
              <a:gd name="connsiteY4" fmla="*/ 24223 h 5608592"/>
              <a:gd name="connsiteX0" fmla="*/ 8164 w 12192785"/>
              <a:gd name="connsiteY0" fmla="*/ 15704 h 5600073"/>
              <a:gd name="connsiteX1" fmla="*/ 12191999 w 12192785"/>
              <a:gd name="connsiteY1" fmla="*/ 1526096 h 5600073"/>
              <a:gd name="connsiteX2" fmla="*/ 12192000 w 12192785"/>
              <a:gd name="connsiteY2" fmla="*/ 5600073 h 5600073"/>
              <a:gd name="connsiteX3" fmla="*/ 0 w 12192785"/>
              <a:gd name="connsiteY3" fmla="*/ 5600073 h 5600073"/>
              <a:gd name="connsiteX4" fmla="*/ 8164 w 12192785"/>
              <a:gd name="connsiteY4" fmla="*/ 15704 h 5600073"/>
              <a:gd name="connsiteX0" fmla="*/ 8164 w 12192785"/>
              <a:gd name="connsiteY0" fmla="*/ 25799 h 5610168"/>
              <a:gd name="connsiteX1" fmla="*/ 12191999 w 12192785"/>
              <a:gd name="connsiteY1" fmla="*/ 1536191 h 5610168"/>
              <a:gd name="connsiteX2" fmla="*/ 12192000 w 12192785"/>
              <a:gd name="connsiteY2" fmla="*/ 5610168 h 5610168"/>
              <a:gd name="connsiteX3" fmla="*/ 0 w 12192785"/>
              <a:gd name="connsiteY3" fmla="*/ 5610168 h 5610168"/>
              <a:gd name="connsiteX4" fmla="*/ 8164 w 12192785"/>
              <a:gd name="connsiteY4" fmla="*/ 25799 h 5610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785" h="5610168">
                <a:moveTo>
                  <a:pt x="8164" y="25799"/>
                </a:moveTo>
                <a:cubicBezTo>
                  <a:pt x="3541485" y="-126601"/>
                  <a:pt x="8413748" y="398634"/>
                  <a:pt x="12191999" y="1536191"/>
                </a:cubicBezTo>
                <a:cubicBezTo>
                  <a:pt x="12189278" y="2363505"/>
                  <a:pt x="12194721" y="4782854"/>
                  <a:pt x="12192000" y="5610168"/>
                </a:cubicBezTo>
                <a:lnTo>
                  <a:pt x="0" y="5610168"/>
                </a:lnTo>
                <a:cubicBezTo>
                  <a:pt x="2721" y="3792254"/>
                  <a:pt x="5443" y="1843713"/>
                  <a:pt x="8164" y="25799"/>
                </a:cubicBezTo>
                <a:close/>
              </a:path>
            </a:pathLst>
          </a:custGeom>
          <a:gradFill>
            <a:gsLst>
              <a:gs pos="0">
                <a:srgbClr val="005091"/>
              </a:gs>
              <a:gs pos="56000">
                <a:srgbClr val="00599A"/>
              </a:gs>
              <a:gs pos="100000">
                <a:srgbClr val="00A6E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38600BE-0105-DFF2-7831-BDC407B29E19}"/>
              </a:ext>
            </a:extLst>
          </p:cNvPr>
          <p:cNvSpPr>
            <a:spLocks noGrp="1"/>
          </p:cNvSpPr>
          <p:nvPr>
            <p:ph type="ctrTitle"/>
          </p:nvPr>
        </p:nvSpPr>
        <p:spPr>
          <a:xfrm>
            <a:off x="887086" y="1715484"/>
            <a:ext cx="7236378" cy="1781402"/>
          </a:xfrm>
        </p:spPr>
        <p:txBody>
          <a:bodyPr lIns="0" tIns="0" rIns="0" bIns="0" anchor="b">
            <a:noAutofit/>
          </a:bodyPr>
          <a:lstStyle>
            <a:lvl1pPr algn="l">
              <a:defRPr sz="3600" b="1"/>
            </a:lvl1pPr>
          </a:lstStyle>
          <a:p>
            <a:r>
              <a:rPr lang="en-US"/>
              <a:t>Click to edit Master title style</a:t>
            </a:r>
          </a:p>
        </p:txBody>
      </p:sp>
      <p:sp>
        <p:nvSpPr>
          <p:cNvPr id="3" name="Subtitle 2">
            <a:extLst>
              <a:ext uri="{FF2B5EF4-FFF2-40B4-BE49-F238E27FC236}">
                <a16:creationId xmlns:a16="http://schemas.microsoft.com/office/drawing/2014/main" id="{4C5F24D1-0CA3-EEAC-8239-5D298AA96C26}"/>
              </a:ext>
            </a:extLst>
          </p:cNvPr>
          <p:cNvSpPr>
            <a:spLocks noGrp="1"/>
          </p:cNvSpPr>
          <p:nvPr>
            <p:ph type="subTitle" idx="1"/>
          </p:nvPr>
        </p:nvSpPr>
        <p:spPr>
          <a:xfrm>
            <a:off x="887086" y="3818963"/>
            <a:ext cx="7236378" cy="948979"/>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0" name="Straight Connector 9">
            <a:extLst>
              <a:ext uri="{FF2B5EF4-FFF2-40B4-BE49-F238E27FC236}">
                <a16:creationId xmlns:a16="http://schemas.microsoft.com/office/drawing/2014/main" id="{09DF2265-4129-FDEA-43C8-4072EE9C2D3F}"/>
              </a:ext>
            </a:extLst>
          </p:cNvPr>
          <p:cNvCxnSpPr/>
          <p:nvPr userDrawn="1"/>
        </p:nvCxnSpPr>
        <p:spPr>
          <a:xfrm>
            <a:off x="903414" y="4906736"/>
            <a:ext cx="273785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C37D1A7B-75C4-E28A-AFA6-3D5D4654EDE1}"/>
              </a:ext>
            </a:extLst>
          </p:cNvPr>
          <p:cNvGrpSpPr/>
          <p:nvPr userDrawn="1"/>
        </p:nvGrpSpPr>
        <p:grpSpPr>
          <a:xfrm>
            <a:off x="8920934" y="696103"/>
            <a:ext cx="2688679" cy="637397"/>
            <a:chOff x="6364288" y="-1019175"/>
            <a:chExt cx="3529013" cy="836613"/>
          </a:xfrm>
        </p:grpSpPr>
        <p:sp>
          <p:nvSpPr>
            <p:cNvPr id="17" name="Freeform 5">
              <a:extLst>
                <a:ext uri="{FF2B5EF4-FFF2-40B4-BE49-F238E27FC236}">
                  <a16:creationId xmlns:a16="http://schemas.microsoft.com/office/drawing/2014/main" id="{30E9CA47-EB01-F779-9805-5047BDFC47FA}"/>
                </a:ext>
              </a:extLst>
            </p:cNvPr>
            <p:cNvSpPr>
              <a:spLocks/>
            </p:cNvSpPr>
            <p:nvPr userDrawn="1"/>
          </p:nvSpPr>
          <p:spPr bwMode="auto">
            <a:xfrm>
              <a:off x="6364288" y="-1019175"/>
              <a:ext cx="738188" cy="836613"/>
            </a:xfrm>
            <a:custGeom>
              <a:avLst/>
              <a:gdLst>
                <a:gd name="T0" fmla="*/ 0 w 415"/>
                <a:gd name="T1" fmla="*/ 236 h 469"/>
                <a:gd name="T2" fmla="*/ 0 w 415"/>
                <a:gd name="T3" fmla="*/ 235 h 469"/>
                <a:gd name="T4" fmla="*/ 234 w 415"/>
                <a:gd name="T5" fmla="*/ 0 h 469"/>
                <a:gd name="T6" fmla="*/ 412 w 415"/>
                <a:gd name="T7" fmla="*/ 70 h 469"/>
                <a:gd name="T8" fmla="*/ 361 w 415"/>
                <a:gd name="T9" fmla="*/ 129 h 469"/>
                <a:gd name="T10" fmla="*/ 234 w 415"/>
                <a:gd name="T11" fmla="*/ 73 h 469"/>
                <a:gd name="T12" fmla="*/ 84 w 415"/>
                <a:gd name="T13" fmla="*/ 233 h 469"/>
                <a:gd name="T14" fmla="*/ 84 w 415"/>
                <a:gd name="T15" fmla="*/ 235 h 469"/>
                <a:gd name="T16" fmla="*/ 234 w 415"/>
                <a:gd name="T17" fmla="*/ 395 h 469"/>
                <a:gd name="T18" fmla="*/ 364 w 415"/>
                <a:gd name="T19" fmla="*/ 337 h 469"/>
                <a:gd name="T20" fmla="*/ 415 w 415"/>
                <a:gd name="T21" fmla="*/ 389 h 469"/>
                <a:gd name="T22" fmla="*/ 231 w 415"/>
                <a:gd name="T23" fmla="*/ 469 h 469"/>
                <a:gd name="T24" fmla="*/ 0 w 415"/>
                <a:gd name="T25"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5" h="469">
                  <a:moveTo>
                    <a:pt x="0" y="236"/>
                  </a:moveTo>
                  <a:cubicBezTo>
                    <a:pt x="0" y="235"/>
                    <a:pt x="0" y="235"/>
                    <a:pt x="0" y="235"/>
                  </a:cubicBezTo>
                  <a:cubicBezTo>
                    <a:pt x="0" y="105"/>
                    <a:pt x="97" y="0"/>
                    <a:pt x="234" y="0"/>
                  </a:cubicBezTo>
                  <a:cubicBezTo>
                    <a:pt x="318" y="0"/>
                    <a:pt x="369" y="29"/>
                    <a:pt x="412" y="70"/>
                  </a:cubicBezTo>
                  <a:cubicBezTo>
                    <a:pt x="361" y="129"/>
                    <a:pt x="361" y="129"/>
                    <a:pt x="361" y="129"/>
                  </a:cubicBezTo>
                  <a:cubicBezTo>
                    <a:pt x="325" y="96"/>
                    <a:pt x="286" y="73"/>
                    <a:pt x="234" y="73"/>
                  </a:cubicBezTo>
                  <a:cubicBezTo>
                    <a:pt x="147" y="73"/>
                    <a:pt x="84" y="144"/>
                    <a:pt x="84" y="233"/>
                  </a:cubicBezTo>
                  <a:cubicBezTo>
                    <a:pt x="84" y="235"/>
                    <a:pt x="84" y="235"/>
                    <a:pt x="84" y="235"/>
                  </a:cubicBezTo>
                  <a:cubicBezTo>
                    <a:pt x="84" y="323"/>
                    <a:pt x="147" y="395"/>
                    <a:pt x="234" y="395"/>
                  </a:cubicBezTo>
                  <a:cubicBezTo>
                    <a:pt x="290" y="395"/>
                    <a:pt x="325" y="373"/>
                    <a:pt x="364" y="337"/>
                  </a:cubicBezTo>
                  <a:cubicBezTo>
                    <a:pt x="415" y="389"/>
                    <a:pt x="415" y="389"/>
                    <a:pt x="415" y="389"/>
                  </a:cubicBezTo>
                  <a:cubicBezTo>
                    <a:pt x="368" y="438"/>
                    <a:pt x="316" y="469"/>
                    <a:pt x="231" y="469"/>
                  </a:cubicBezTo>
                  <a:cubicBezTo>
                    <a:pt x="99" y="469"/>
                    <a:pt x="0" y="366"/>
                    <a:pt x="0"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10195C80-2667-51E5-16EE-CE5B41B55128}"/>
                </a:ext>
              </a:extLst>
            </p:cNvPr>
            <p:cNvSpPr>
              <a:spLocks/>
            </p:cNvSpPr>
            <p:nvPr userDrawn="1"/>
          </p:nvSpPr>
          <p:spPr bwMode="auto">
            <a:xfrm>
              <a:off x="8983663" y="-1006475"/>
              <a:ext cx="669925" cy="811213"/>
            </a:xfrm>
            <a:custGeom>
              <a:avLst/>
              <a:gdLst>
                <a:gd name="T0" fmla="*/ 0 w 422"/>
                <a:gd name="T1" fmla="*/ 0 h 511"/>
                <a:gd name="T2" fmla="*/ 89 w 422"/>
                <a:gd name="T3" fmla="*/ 0 h 511"/>
                <a:gd name="T4" fmla="*/ 89 w 422"/>
                <a:gd name="T5" fmla="*/ 212 h 511"/>
                <a:gd name="T6" fmla="*/ 332 w 422"/>
                <a:gd name="T7" fmla="*/ 212 h 511"/>
                <a:gd name="T8" fmla="*/ 332 w 422"/>
                <a:gd name="T9" fmla="*/ 0 h 511"/>
                <a:gd name="T10" fmla="*/ 422 w 422"/>
                <a:gd name="T11" fmla="*/ 0 h 511"/>
                <a:gd name="T12" fmla="*/ 422 w 422"/>
                <a:gd name="T13" fmla="*/ 511 h 511"/>
                <a:gd name="T14" fmla="*/ 332 w 422"/>
                <a:gd name="T15" fmla="*/ 511 h 511"/>
                <a:gd name="T16" fmla="*/ 332 w 422"/>
                <a:gd name="T17" fmla="*/ 295 h 511"/>
                <a:gd name="T18" fmla="*/ 89 w 422"/>
                <a:gd name="T19" fmla="*/ 295 h 511"/>
                <a:gd name="T20" fmla="*/ 89 w 422"/>
                <a:gd name="T21" fmla="*/ 511 h 511"/>
                <a:gd name="T22" fmla="*/ 0 w 422"/>
                <a:gd name="T23" fmla="*/ 511 h 511"/>
                <a:gd name="T24" fmla="*/ 0 w 422"/>
                <a:gd name="T25"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2" h="511">
                  <a:moveTo>
                    <a:pt x="0" y="0"/>
                  </a:moveTo>
                  <a:lnTo>
                    <a:pt x="89" y="0"/>
                  </a:lnTo>
                  <a:lnTo>
                    <a:pt x="89" y="212"/>
                  </a:lnTo>
                  <a:lnTo>
                    <a:pt x="332" y="212"/>
                  </a:lnTo>
                  <a:lnTo>
                    <a:pt x="332" y="0"/>
                  </a:lnTo>
                  <a:lnTo>
                    <a:pt x="422" y="0"/>
                  </a:lnTo>
                  <a:lnTo>
                    <a:pt x="422" y="511"/>
                  </a:lnTo>
                  <a:lnTo>
                    <a:pt x="332" y="511"/>
                  </a:lnTo>
                  <a:lnTo>
                    <a:pt x="332" y="295"/>
                  </a:lnTo>
                  <a:lnTo>
                    <a:pt x="89" y="295"/>
                  </a:lnTo>
                  <a:lnTo>
                    <a:pt x="89" y="511"/>
                  </a:lnTo>
                  <a:lnTo>
                    <a:pt x="0" y="511"/>
                  </a:lnTo>
                  <a:lnTo>
                    <a:pt x="0" y="0"/>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7">
              <a:extLst>
                <a:ext uri="{FF2B5EF4-FFF2-40B4-BE49-F238E27FC236}">
                  <a16:creationId xmlns:a16="http://schemas.microsoft.com/office/drawing/2014/main" id="{A458A4EC-4FB3-42A6-1728-2E0D7DFB19A1}"/>
                </a:ext>
              </a:extLst>
            </p:cNvPr>
            <p:cNvSpPr>
              <a:spLocks noEditPoints="1"/>
            </p:cNvSpPr>
            <p:nvPr userDrawn="1"/>
          </p:nvSpPr>
          <p:spPr bwMode="auto">
            <a:xfrm>
              <a:off x="7974013" y="-1019175"/>
              <a:ext cx="846138" cy="836613"/>
            </a:xfrm>
            <a:custGeom>
              <a:avLst/>
              <a:gdLst>
                <a:gd name="T0" fmla="*/ 0 w 475"/>
                <a:gd name="T1" fmla="*/ 236 h 469"/>
                <a:gd name="T2" fmla="*/ 0 w 475"/>
                <a:gd name="T3" fmla="*/ 235 h 469"/>
                <a:gd name="T4" fmla="*/ 238 w 475"/>
                <a:gd name="T5" fmla="*/ 0 h 469"/>
                <a:gd name="T6" fmla="*/ 475 w 475"/>
                <a:gd name="T7" fmla="*/ 233 h 469"/>
                <a:gd name="T8" fmla="*/ 475 w 475"/>
                <a:gd name="T9" fmla="*/ 235 h 469"/>
                <a:gd name="T10" fmla="*/ 237 w 475"/>
                <a:gd name="T11" fmla="*/ 469 h 469"/>
                <a:gd name="T12" fmla="*/ 0 w 475"/>
                <a:gd name="T13" fmla="*/ 236 h 469"/>
                <a:gd name="T14" fmla="*/ 391 w 475"/>
                <a:gd name="T15" fmla="*/ 236 h 469"/>
                <a:gd name="T16" fmla="*/ 391 w 475"/>
                <a:gd name="T17" fmla="*/ 235 h 469"/>
                <a:gd name="T18" fmla="*/ 237 w 475"/>
                <a:gd name="T19" fmla="*/ 73 h 469"/>
                <a:gd name="T20" fmla="*/ 84 w 475"/>
                <a:gd name="T21" fmla="*/ 233 h 469"/>
                <a:gd name="T22" fmla="*/ 84 w 475"/>
                <a:gd name="T23" fmla="*/ 235 h 469"/>
                <a:gd name="T24" fmla="*/ 238 w 475"/>
                <a:gd name="T25" fmla="*/ 395 h 469"/>
                <a:gd name="T26" fmla="*/ 391 w 475"/>
                <a:gd name="T27"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5" h="469">
                  <a:moveTo>
                    <a:pt x="0" y="236"/>
                  </a:moveTo>
                  <a:cubicBezTo>
                    <a:pt x="0" y="235"/>
                    <a:pt x="0" y="235"/>
                    <a:pt x="0" y="235"/>
                  </a:cubicBezTo>
                  <a:cubicBezTo>
                    <a:pt x="0" y="107"/>
                    <a:pt x="99" y="0"/>
                    <a:pt x="238" y="0"/>
                  </a:cubicBezTo>
                  <a:cubicBezTo>
                    <a:pt x="378" y="0"/>
                    <a:pt x="475" y="105"/>
                    <a:pt x="475" y="233"/>
                  </a:cubicBezTo>
                  <a:cubicBezTo>
                    <a:pt x="475" y="235"/>
                    <a:pt x="475" y="235"/>
                    <a:pt x="475" y="235"/>
                  </a:cubicBezTo>
                  <a:cubicBezTo>
                    <a:pt x="475" y="362"/>
                    <a:pt x="376" y="469"/>
                    <a:pt x="237" y="469"/>
                  </a:cubicBezTo>
                  <a:cubicBezTo>
                    <a:pt x="97" y="469"/>
                    <a:pt x="0" y="364"/>
                    <a:pt x="0" y="236"/>
                  </a:cubicBezTo>
                  <a:close/>
                  <a:moveTo>
                    <a:pt x="391" y="236"/>
                  </a:moveTo>
                  <a:cubicBezTo>
                    <a:pt x="391" y="235"/>
                    <a:pt x="391" y="235"/>
                    <a:pt x="391" y="235"/>
                  </a:cubicBezTo>
                  <a:cubicBezTo>
                    <a:pt x="391" y="146"/>
                    <a:pt x="327" y="73"/>
                    <a:pt x="237" y="73"/>
                  </a:cubicBezTo>
                  <a:cubicBezTo>
                    <a:pt x="147" y="73"/>
                    <a:pt x="84" y="145"/>
                    <a:pt x="84" y="233"/>
                  </a:cubicBezTo>
                  <a:cubicBezTo>
                    <a:pt x="84" y="235"/>
                    <a:pt x="84" y="235"/>
                    <a:pt x="84" y="235"/>
                  </a:cubicBezTo>
                  <a:cubicBezTo>
                    <a:pt x="84" y="323"/>
                    <a:pt x="148" y="395"/>
                    <a:pt x="238" y="395"/>
                  </a:cubicBezTo>
                  <a:cubicBezTo>
                    <a:pt x="328" y="395"/>
                    <a:pt x="391" y="324"/>
                    <a:pt x="391"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32" name="Picture 8">
              <a:extLst>
                <a:ext uri="{FF2B5EF4-FFF2-40B4-BE49-F238E27FC236}">
                  <a16:creationId xmlns:a16="http://schemas.microsoft.com/office/drawing/2014/main" id="{623A7DD8-509C-7E90-343F-534D08BEDE5C}"/>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94538" y="-1012825"/>
              <a:ext cx="1804988"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Freeform 9">
              <a:extLst>
                <a:ext uri="{FF2B5EF4-FFF2-40B4-BE49-F238E27FC236}">
                  <a16:creationId xmlns:a16="http://schemas.microsoft.com/office/drawing/2014/main" id="{DC5BC469-F861-3550-0F25-5DF1867B17ED}"/>
                </a:ext>
              </a:extLst>
            </p:cNvPr>
            <p:cNvSpPr>
              <a:spLocks/>
            </p:cNvSpPr>
            <p:nvPr userDrawn="1"/>
          </p:nvSpPr>
          <p:spPr bwMode="auto">
            <a:xfrm>
              <a:off x="9807576" y="-279400"/>
              <a:ext cx="85725" cy="84138"/>
            </a:xfrm>
            <a:custGeom>
              <a:avLst/>
              <a:gdLst>
                <a:gd name="T0" fmla="*/ 7 w 54"/>
                <a:gd name="T1" fmla="*/ 13 h 53"/>
                <a:gd name="T2" fmla="*/ 7 w 54"/>
                <a:gd name="T3" fmla="*/ 53 h 53"/>
                <a:gd name="T4" fmla="*/ 0 w 54"/>
                <a:gd name="T5" fmla="*/ 53 h 53"/>
                <a:gd name="T6" fmla="*/ 0 w 54"/>
                <a:gd name="T7" fmla="*/ 0 h 53"/>
                <a:gd name="T8" fmla="*/ 8 w 54"/>
                <a:gd name="T9" fmla="*/ 0 h 53"/>
                <a:gd name="T10" fmla="*/ 27 w 54"/>
                <a:gd name="T11" fmla="*/ 31 h 53"/>
                <a:gd name="T12" fmla="*/ 46 w 54"/>
                <a:gd name="T13" fmla="*/ 0 h 53"/>
                <a:gd name="T14" fmla="*/ 54 w 54"/>
                <a:gd name="T15" fmla="*/ 0 h 53"/>
                <a:gd name="T16" fmla="*/ 54 w 54"/>
                <a:gd name="T17" fmla="*/ 53 h 53"/>
                <a:gd name="T18" fmla="*/ 46 w 54"/>
                <a:gd name="T19" fmla="*/ 53 h 53"/>
                <a:gd name="T20" fmla="*/ 46 w 54"/>
                <a:gd name="T21" fmla="*/ 13 h 53"/>
                <a:gd name="T22" fmla="*/ 27 w 54"/>
                <a:gd name="T23" fmla="*/ 43 h 53"/>
                <a:gd name="T24" fmla="*/ 7 w 54"/>
                <a:gd name="T25"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7" y="13"/>
                  </a:moveTo>
                  <a:lnTo>
                    <a:pt x="7" y="53"/>
                  </a:lnTo>
                  <a:lnTo>
                    <a:pt x="0" y="53"/>
                  </a:lnTo>
                  <a:lnTo>
                    <a:pt x="0" y="0"/>
                  </a:lnTo>
                  <a:lnTo>
                    <a:pt x="8" y="0"/>
                  </a:lnTo>
                  <a:lnTo>
                    <a:pt x="27" y="31"/>
                  </a:lnTo>
                  <a:lnTo>
                    <a:pt x="46" y="0"/>
                  </a:lnTo>
                  <a:lnTo>
                    <a:pt x="54" y="0"/>
                  </a:lnTo>
                  <a:lnTo>
                    <a:pt x="54" y="53"/>
                  </a:lnTo>
                  <a:lnTo>
                    <a:pt x="46" y="53"/>
                  </a:lnTo>
                  <a:lnTo>
                    <a:pt x="46" y="13"/>
                  </a:lnTo>
                  <a:lnTo>
                    <a:pt x="27" y="43"/>
                  </a:lnTo>
                  <a:lnTo>
                    <a:pt x="7"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a:extLst>
                <a:ext uri="{FF2B5EF4-FFF2-40B4-BE49-F238E27FC236}">
                  <a16:creationId xmlns:a16="http://schemas.microsoft.com/office/drawing/2014/main" id="{0847A9C2-A212-1CA0-5441-5F301ACA16B5}"/>
                </a:ext>
              </a:extLst>
            </p:cNvPr>
            <p:cNvSpPr>
              <a:spLocks/>
            </p:cNvSpPr>
            <p:nvPr userDrawn="1"/>
          </p:nvSpPr>
          <p:spPr bwMode="auto">
            <a:xfrm>
              <a:off x="9729788" y="-282575"/>
              <a:ext cx="63500" cy="93663"/>
            </a:xfrm>
            <a:custGeom>
              <a:avLst/>
              <a:gdLst>
                <a:gd name="T0" fmla="*/ 29 w 36"/>
                <a:gd name="T1" fmla="*/ 13 h 52"/>
                <a:gd name="T2" fmla="*/ 24 w 36"/>
                <a:gd name="T3" fmla="*/ 9 h 52"/>
                <a:gd name="T4" fmla="*/ 10 w 36"/>
                <a:gd name="T5" fmla="*/ 9 h 52"/>
                <a:gd name="T6" fmla="*/ 10 w 36"/>
                <a:gd name="T7" fmla="*/ 18 h 52"/>
                <a:gd name="T8" fmla="*/ 15 w 36"/>
                <a:gd name="T9" fmla="*/ 20 h 52"/>
                <a:gd name="T10" fmla="*/ 27 w 36"/>
                <a:gd name="T11" fmla="*/ 25 h 52"/>
                <a:gd name="T12" fmla="*/ 32 w 36"/>
                <a:gd name="T13" fmla="*/ 29 h 52"/>
                <a:gd name="T14" fmla="*/ 30 w 36"/>
                <a:gd name="T15" fmla="*/ 46 h 52"/>
                <a:gd name="T16" fmla="*/ 0 w 36"/>
                <a:gd name="T17" fmla="*/ 42 h 52"/>
                <a:gd name="T18" fmla="*/ 4 w 36"/>
                <a:gd name="T19" fmla="*/ 37 h 52"/>
                <a:gd name="T20" fmla="*/ 25 w 36"/>
                <a:gd name="T21" fmla="*/ 41 h 52"/>
                <a:gd name="T22" fmla="*/ 24 w 36"/>
                <a:gd name="T23" fmla="*/ 31 h 52"/>
                <a:gd name="T24" fmla="*/ 18 w 36"/>
                <a:gd name="T25" fmla="*/ 28 h 52"/>
                <a:gd name="T26" fmla="*/ 4 w 36"/>
                <a:gd name="T27" fmla="*/ 21 h 52"/>
                <a:gd name="T28" fmla="*/ 6 w 36"/>
                <a:gd name="T29" fmla="*/ 5 h 52"/>
                <a:gd name="T30" fmla="*/ 27 w 36"/>
                <a:gd name="T31" fmla="*/ 3 h 52"/>
                <a:gd name="T32" fmla="*/ 33 w 36"/>
                <a:gd name="T33" fmla="*/ 8 h 52"/>
                <a:gd name="T34" fmla="*/ 29 w 36"/>
                <a:gd name="T35" fmla="*/ 1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52">
                  <a:moveTo>
                    <a:pt x="29" y="13"/>
                  </a:moveTo>
                  <a:cubicBezTo>
                    <a:pt x="28" y="11"/>
                    <a:pt x="26" y="10"/>
                    <a:pt x="24" y="9"/>
                  </a:cubicBezTo>
                  <a:cubicBezTo>
                    <a:pt x="20" y="7"/>
                    <a:pt x="14" y="7"/>
                    <a:pt x="10" y="9"/>
                  </a:cubicBezTo>
                  <a:cubicBezTo>
                    <a:pt x="7" y="11"/>
                    <a:pt x="7" y="16"/>
                    <a:pt x="10" y="18"/>
                  </a:cubicBezTo>
                  <a:cubicBezTo>
                    <a:pt x="11" y="19"/>
                    <a:pt x="13" y="20"/>
                    <a:pt x="15" y="20"/>
                  </a:cubicBezTo>
                  <a:cubicBezTo>
                    <a:pt x="19" y="22"/>
                    <a:pt x="24" y="23"/>
                    <a:pt x="27" y="25"/>
                  </a:cubicBezTo>
                  <a:cubicBezTo>
                    <a:pt x="29" y="26"/>
                    <a:pt x="31" y="27"/>
                    <a:pt x="32" y="29"/>
                  </a:cubicBezTo>
                  <a:cubicBezTo>
                    <a:pt x="36" y="34"/>
                    <a:pt x="34" y="42"/>
                    <a:pt x="30" y="46"/>
                  </a:cubicBezTo>
                  <a:cubicBezTo>
                    <a:pt x="22" y="52"/>
                    <a:pt x="5" y="50"/>
                    <a:pt x="0" y="42"/>
                  </a:cubicBezTo>
                  <a:cubicBezTo>
                    <a:pt x="4" y="37"/>
                    <a:pt x="4" y="37"/>
                    <a:pt x="4" y="37"/>
                  </a:cubicBezTo>
                  <a:cubicBezTo>
                    <a:pt x="8" y="43"/>
                    <a:pt x="19" y="45"/>
                    <a:pt x="25" y="41"/>
                  </a:cubicBezTo>
                  <a:cubicBezTo>
                    <a:pt x="28" y="39"/>
                    <a:pt x="28" y="34"/>
                    <a:pt x="24" y="31"/>
                  </a:cubicBezTo>
                  <a:cubicBezTo>
                    <a:pt x="23" y="30"/>
                    <a:pt x="20" y="29"/>
                    <a:pt x="18" y="28"/>
                  </a:cubicBezTo>
                  <a:cubicBezTo>
                    <a:pt x="13" y="26"/>
                    <a:pt x="7" y="25"/>
                    <a:pt x="4" y="21"/>
                  </a:cubicBezTo>
                  <a:cubicBezTo>
                    <a:pt x="0" y="17"/>
                    <a:pt x="0" y="8"/>
                    <a:pt x="6" y="5"/>
                  </a:cubicBezTo>
                  <a:cubicBezTo>
                    <a:pt x="11" y="1"/>
                    <a:pt x="21" y="0"/>
                    <a:pt x="27" y="3"/>
                  </a:cubicBezTo>
                  <a:cubicBezTo>
                    <a:pt x="30" y="5"/>
                    <a:pt x="32" y="6"/>
                    <a:pt x="33" y="8"/>
                  </a:cubicBezTo>
                  <a:lnTo>
                    <a:pt x="29"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ext Placeholder 15">
            <a:extLst>
              <a:ext uri="{FF2B5EF4-FFF2-40B4-BE49-F238E27FC236}">
                <a16:creationId xmlns:a16="http://schemas.microsoft.com/office/drawing/2014/main" id="{F175A307-B447-7FB9-B40A-E996C2EC8D1A}"/>
              </a:ext>
            </a:extLst>
          </p:cNvPr>
          <p:cNvSpPr>
            <a:spLocks noGrp="1"/>
          </p:cNvSpPr>
          <p:nvPr>
            <p:ph type="body" sz="quarter" idx="13"/>
          </p:nvPr>
        </p:nvSpPr>
        <p:spPr>
          <a:xfrm>
            <a:off x="911578" y="5150651"/>
            <a:ext cx="7441847" cy="853833"/>
          </a:xfrm>
        </p:spPr>
        <p:txBody>
          <a:bodyPr/>
          <a:lstStyle>
            <a:lvl1pPr marL="0" indent="0">
              <a:buNone/>
              <a:defRPr sz="1500" b="1">
                <a:solidFill>
                  <a:schemeClr val="bg1"/>
                </a:solidFill>
              </a:defRPr>
            </a:lvl1pPr>
            <a:lvl2pPr marL="0" indent="0">
              <a:spcBef>
                <a:spcPts val="300"/>
              </a:spcBef>
              <a:buNone/>
              <a:defRPr sz="1500">
                <a:solidFill>
                  <a:schemeClr val="bg1"/>
                </a:solidFill>
              </a:defRPr>
            </a:lvl2pPr>
            <a:lvl3pPr marL="428625" indent="0">
              <a:buNone/>
              <a:defRPr>
                <a:solidFill>
                  <a:schemeClr val="bg1"/>
                </a:solidFill>
              </a:defRPr>
            </a:lvl3pPr>
            <a:lvl4pPr marL="631825" indent="0">
              <a:buNone/>
              <a:defRPr>
                <a:solidFill>
                  <a:schemeClr val="bg1"/>
                </a:solidFill>
              </a:defRPr>
            </a:lvl4pPr>
            <a:lvl5pPr marL="857250" indent="0">
              <a:buNone/>
              <a:defRPr>
                <a:solidFill>
                  <a:schemeClr val="bg1"/>
                </a:solidFill>
              </a:defRPr>
            </a:lvl5pPr>
          </a:lstStyle>
          <a:p>
            <a:pPr lvl="0"/>
            <a:r>
              <a:rPr lang="en-US"/>
              <a:t>Click to edit Master text styles</a:t>
            </a:r>
          </a:p>
          <a:p>
            <a:pPr lvl="1"/>
            <a:r>
              <a:rPr lang="en-US"/>
              <a:t>Second level</a:t>
            </a:r>
          </a:p>
        </p:txBody>
      </p:sp>
      <p:sp>
        <p:nvSpPr>
          <p:cNvPr id="7" name="Footer Placeholder 3">
            <a:extLst>
              <a:ext uri="{FF2B5EF4-FFF2-40B4-BE49-F238E27FC236}">
                <a16:creationId xmlns:a16="http://schemas.microsoft.com/office/drawing/2014/main" id="{F28EDD65-8243-2C7A-2356-5E30BA069DFE}"/>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8" name="Slide Number Placeholder 3">
            <a:extLst>
              <a:ext uri="{FF2B5EF4-FFF2-40B4-BE49-F238E27FC236}">
                <a16:creationId xmlns:a16="http://schemas.microsoft.com/office/drawing/2014/main" id="{84BF7248-A82A-48D8-AA40-6D2D5283444C}"/>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Tree>
    <p:extLst>
      <p:ext uri="{BB962C8B-B14F-4D97-AF65-F5344CB8AC3E}">
        <p14:creationId xmlns:p14="http://schemas.microsoft.com/office/powerpoint/2010/main" val="26269974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rgbClr val="1E3E7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C448FC-DE52-3E4E-85E1-90564C0B4E67}"/>
              </a:ext>
            </a:extLst>
          </p:cNvPr>
          <p:cNvGrpSpPr/>
          <p:nvPr userDrawn="1"/>
        </p:nvGrpSpPr>
        <p:grpSpPr>
          <a:xfrm>
            <a:off x="0" y="0"/>
            <a:ext cx="12192000" cy="6858000"/>
            <a:chOff x="0" y="0"/>
            <a:chExt cx="12192000" cy="6858000"/>
          </a:xfrm>
        </p:grpSpPr>
        <p:pic>
          <p:nvPicPr>
            <p:cNvPr id="12" name="Picture 11" descr="A blue circle with white text&#10;&#10;Description automatically generated">
              <a:extLst>
                <a:ext uri="{FF2B5EF4-FFF2-40B4-BE49-F238E27FC236}">
                  <a16:creationId xmlns:a16="http://schemas.microsoft.com/office/drawing/2014/main" id="{7B1286C6-3257-D16D-4523-AD9D67D6EDA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1AB59382-5CFD-A590-ABE6-AB7EC08C51D0}"/>
                </a:ext>
              </a:extLst>
            </p:cNvPr>
            <p:cNvSpPr/>
            <p:nvPr userDrawn="1"/>
          </p:nvSpPr>
          <p:spPr>
            <a:xfrm>
              <a:off x="9020710" y="2034283"/>
              <a:ext cx="2938409" cy="315416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6BE95523-4923-5515-196D-B272CD7087E7}"/>
              </a:ext>
            </a:extLst>
          </p:cNvPr>
          <p:cNvSpPr>
            <a:spLocks noGrp="1"/>
          </p:cNvSpPr>
          <p:nvPr>
            <p:ph type="ctrTitle"/>
          </p:nvPr>
        </p:nvSpPr>
        <p:spPr>
          <a:xfrm>
            <a:off x="781581" y="3059724"/>
            <a:ext cx="7236378" cy="623779"/>
          </a:xfrm>
        </p:spPr>
        <p:txBody>
          <a:bodyPr lIns="0" tIns="0" rIns="0" bIns="0" anchor="b">
            <a:noAutofit/>
          </a:bodyPr>
          <a:lstStyle>
            <a:lvl1pPr algn="l">
              <a:defRPr sz="3600" b="1"/>
            </a:lvl1pPr>
          </a:lstStyle>
          <a:p>
            <a:r>
              <a:rPr lang="en-US"/>
              <a:t>Click to edit Master title style</a:t>
            </a:r>
          </a:p>
        </p:txBody>
      </p:sp>
      <p:grpSp>
        <p:nvGrpSpPr>
          <p:cNvPr id="5" name="Group 4">
            <a:extLst>
              <a:ext uri="{FF2B5EF4-FFF2-40B4-BE49-F238E27FC236}">
                <a16:creationId xmlns:a16="http://schemas.microsoft.com/office/drawing/2014/main" id="{5F5B1532-0AD0-503B-B157-D21D3908C791}"/>
              </a:ext>
            </a:extLst>
          </p:cNvPr>
          <p:cNvGrpSpPr/>
          <p:nvPr userDrawn="1"/>
        </p:nvGrpSpPr>
        <p:grpSpPr>
          <a:xfrm>
            <a:off x="9145574" y="521443"/>
            <a:ext cx="2688679" cy="637397"/>
            <a:chOff x="6364288" y="-1019175"/>
            <a:chExt cx="3529013" cy="836613"/>
          </a:xfrm>
        </p:grpSpPr>
        <p:sp>
          <p:nvSpPr>
            <p:cNvPr id="6" name="Freeform 5">
              <a:extLst>
                <a:ext uri="{FF2B5EF4-FFF2-40B4-BE49-F238E27FC236}">
                  <a16:creationId xmlns:a16="http://schemas.microsoft.com/office/drawing/2014/main" id="{ADCE767A-5336-30B6-F35E-A0F2A513037A}"/>
                </a:ext>
              </a:extLst>
            </p:cNvPr>
            <p:cNvSpPr>
              <a:spLocks/>
            </p:cNvSpPr>
            <p:nvPr userDrawn="1"/>
          </p:nvSpPr>
          <p:spPr bwMode="auto">
            <a:xfrm>
              <a:off x="6364288" y="-1019175"/>
              <a:ext cx="738188" cy="836613"/>
            </a:xfrm>
            <a:custGeom>
              <a:avLst/>
              <a:gdLst>
                <a:gd name="T0" fmla="*/ 0 w 415"/>
                <a:gd name="T1" fmla="*/ 236 h 469"/>
                <a:gd name="T2" fmla="*/ 0 w 415"/>
                <a:gd name="T3" fmla="*/ 235 h 469"/>
                <a:gd name="T4" fmla="*/ 234 w 415"/>
                <a:gd name="T5" fmla="*/ 0 h 469"/>
                <a:gd name="T6" fmla="*/ 412 w 415"/>
                <a:gd name="T7" fmla="*/ 70 h 469"/>
                <a:gd name="T8" fmla="*/ 361 w 415"/>
                <a:gd name="T9" fmla="*/ 129 h 469"/>
                <a:gd name="T10" fmla="*/ 234 w 415"/>
                <a:gd name="T11" fmla="*/ 73 h 469"/>
                <a:gd name="T12" fmla="*/ 84 w 415"/>
                <a:gd name="T13" fmla="*/ 233 h 469"/>
                <a:gd name="T14" fmla="*/ 84 w 415"/>
                <a:gd name="T15" fmla="*/ 235 h 469"/>
                <a:gd name="T16" fmla="*/ 234 w 415"/>
                <a:gd name="T17" fmla="*/ 395 h 469"/>
                <a:gd name="T18" fmla="*/ 364 w 415"/>
                <a:gd name="T19" fmla="*/ 337 h 469"/>
                <a:gd name="T20" fmla="*/ 415 w 415"/>
                <a:gd name="T21" fmla="*/ 389 h 469"/>
                <a:gd name="T22" fmla="*/ 231 w 415"/>
                <a:gd name="T23" fmla="*/ 469 h 469"/>
                <a:gd name="T24" fmla="*/ 0 w 415"/>
                <a:gd name="T25"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5" h="469">
                  <a:moveTo>
                    <a:pt x="0" y="236"/>
                  </a:moveTo>
                  <a:cubicBezTo>
                    <a:pt x="0" y="235"/>
                    <a:pt x="0" y="235"/>
                    <a:pt x="0" y="235"/>
                  </a:cubicBezTo>
                  <a:cubicBezTo>
                    <a:pt x="0" y="105"/>
                    <a:pt x="97" y="0"/>
                    <a:pt x="234" y="0"/>
                  </a:cubicBezTo>
                  <a:cubicBezTo>
                    <a:pt x="318" y="0"/>
                    <a:pt x="369" y="29"/>
                    <a:pt x="412" y="70"/>
                  </a:cubicBezTo>
                  <a:cubicBezTo>
                    <a:pt x="361" y="129"/>
                    <a:pt x="361" y="129"/>
                    <a:pt x="361" y="129"/>
                  </a:cubicBezTo>
                  <a:cubicBezTo>
                    <a:pt x="325" y="96"/>
                    <a:pt x="286" y="73"/>
                    <a:pt x="234" y="73"/>
                  </a:cubicBezTo>
                  <a:cubicBezTo>
                    <a:pt x="147" y="73"/>
                    <a:pt x="84" y="144"/>
                    <a:pt x="84" y="233"/>
                  </a:cubicBezTo>
                  <a:cubicBezTo>
                    <a:pt x="84" y="235"/>
                    <a:pt x="84" y="235"/>
                    <a:pt x="84" y="235"/>
                  </a:cubicBezTo>
                  <a:cubicBezTo>
                    <a:pt x="84" y="323"/>
                    <a:pt x="147" y="395"/>
                    <a:pt x="234" y="395"/>
                  </a:cubicBezTo>
                  <a:cubicBezTo>
                    <a:pt x="290" y="395"/>
                    <a:pt x="325" y="373"/>
                    <a:pt x="364" y="337"/>
                  </a:cubicBezTo>
                  <a:cubicBezTo>
                    <a:pt x="415" y="389"/>
                    <a:pt x="415" y="389"/>
                    <a:pt x="415" y="389"/>
                  </a:cubicBezTo>
                  <a:cubicBezTo>
                    <a:pt x="368" y="438"/>
                    <a:pt x="316" y="469"/>
                    <a:pt x="231" y="469"/>
                  </a:cubicBezTo>
                  <a:cubicBezTo>
                    <a:pt x="99" y="469"/>
                    <a:pt x="0" y="366"/>
                    <a:pt x="0"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B8FBF60A-5F35-EB71-BFA9-ACF86F0B361F}"/>
                </a:ext>
              </a:extLst>
            </p:cNvPr>
            <p:cNvSpPr>
              <a:spLocks/>
            </p:cNvSpPr>
            <p:nvPr userDrawn="1"/>
          </p:nvSpPr>
          <p:spPr bwMode="auto">
            <a:xfrm>
              <a:off x="8983663" y="-1006475"/>
              <a:ext cx="669925" cy="811213"/>
            </a:xfrm>
            <a:custGeom>
              <a:avLst/>
              <a:gdLst>
                <a:gd name="T0" fmla="*/ 0 w 422"/>
                <a:gd name="T1" fmla="*/ 0 h 511"/>
                <a:gd name="T2" fmla="*/ 89 w 422"/>
                <a:gd name="T3" fmla="*/ 0 h 511"/>
                <a:gd name="T4" fmla="*/ 89 w 422"/>
                <a:gd name="T5" fmla="*/ 212 h 511"/>
                <a:gd name="T6" fmla="*/ 332 w 422"/>
                <a:gd name="T7" fmla="*/ 212 h 511"/>
                <a:gd name="T8" fmla="*/ 332 w 422"/>
                <a:gd name="T9" fmla="*/ 0 h 511"/>
                <a:gd name="T10" fmla="*/ 422 w 422"/>
                <a:gd name="T11" fmla="*/ 0 h 511"/>
                <a:gd name="T12" fmla="*/ 422 w 422"/>
                <a:gd name="T13" fmla="*/ 511 h 511"/>
                <a:gd name="T14" fmla="*/ 332 w 422"/>
                <a:gd name="T15" fmla="*/ 511 h 511"/>
                <a:gd name="T16" fmla="*/ 332 w 422"/>
                <a:gd name="T17" fmla="*/ 295 h 511"/>
                <a:gd name="T18" fmla="*/ 89 w 422"/>
                <a:gd name="T19" fmla="*/ 295 h 511"/>
                <a:gd name="T20" fmla="*/ 89 w 422"/>
                <a:gd name="T21" fmla="*/ 511 h 511"/>
                <a:gd name="T22" fmla="*/ 0 w 422"/>
                <a:gd name="T23" fmla="*/ 511 h 511"/>
                <a:gd name="T24" fmla="*/ 0 w 422"/>
                <a:gd name="T25"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2" h="511">
                  <a:moveTo>
                    <a:pt x="0" y="0"/>
                  </a:moveTo>
                  <a:lnTo>
                    <a:pt x="89" y="0"/>
                  </a:lnTo>
                  <a:lnTo>
                    <a:pt x="89" y="212"/>
                  </a:lnTo>
                  <a:lnTo>
                    <a:pt x="332" y="212"/>
                  </a:lnTo>
                  <a:lnTo>
                    <a:pt x="332" y="0"/>
                  </a:lnTo>
                  <a:lnTo>
                    <a:pt x="422" y="0"/>
                  </a:lnTo>
                  <a:lnTo>
                    <a:pt x="422" y="511"/>
                  </a:lnTo>
                  <a:lnTo>
                    <a:pt x="332" y="511"/>
                  </a:lnTo>
                  <a:lnTo>
                    <a:pt x="332" y="295"/>
                  </a:lnTo>
                  <a:lnTo>
                    <a:pt x="89" y="295"/>
                  </a:lnTo>
                  <a:lnTo>
                    <a:pt x="89" y="511"/>
                  </a:lnTo>
                  <a:lnTo>
                    <a:pt x="0" y="511"/>
                  </a:lnTo>
                  <a:lnTo>
                    <a:pt x="0" y="0"/>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B8D19F52-DCB5-965C-B314-72F27D923016}"/>
                </a:ext>
              </a:extLst>
            </p:cNvPr>
            <p:cNvSpPr>
              <a:spLocks noEditPoints="1"/>
            </p:cNvSpPr>
            <p:nvPr userDrawn="1"/>
          </p:nvSpPr>
          <p:spPr bwMode="auto">
            <a:xfrm>
              <a:off x="7974013" y="-1019175"/>
              <a:ext cx="846138" cy="836613"/>
            </a:xfrm>
            <a:custGeom>
              <a:avLst/>
              <a:gdLst>
                <a:gd name="T0" fmla="*/ 0 w 475"/>
                <a:gd name="T1" fmla="*/ 236 h 469"/>
                <a:gd name="T2" fmla="*/ 0 w 475"/>
                <a:gd name="T3" fmla="*/ 235 h 469"/>
                <a:gd name="T4" fmla="*/ 238 w 475"/>
                <a:gd name="T5" fmla="*/ 0 h 469"/>
                <a:gd name="T6" fmla="*/ 475 w 475"/>
                <a:gd name="T7" fmla="*/ 233 h 469"/>
                <a:gd name="T8" fmla="*/ 475 w 475"/>
                <a:gd name="T9" fmla="*/ 235 h 469"/>
                <a:gd name="T10" fmla="*/ 237 w 475"/>
                <a:gd name="T11" fmla="*/ 469 h 469"/>
                <a:gd name="T12" fmla="*/ 0 w 475"/>
                <a:gd name="T13" fmla="*/ 236 h 469"/>
                <a:gd name="T14" fmla="*/ 391 w 475"/>
                <a:gd name="T15" fmla="*/ 236 h 469"/>
                <a:gd name="T16" fmla="*/ 391 w 475"/>
                <a:gd name="T17" fmla="*/ 235 h 469"/>
                <a:gd name="T18" fmla="*/ 237 w 475"/>
                <a:gd name="T19" fmla="*/ 73 h 469"/>
                <a:gd name="T20" fmla="*/ 84 w 475"/>
                <a:gd name="T21" fmla="*/ 233 h 469"/>
                <a:gd name="T22" fmla="*/ 84 w 475"/>
                <a:gd name="T23" fmla="*/ 235 h 469"/>
                <a:gd name="T24" fmla="*/ 238 w 475"/>
                <a:gd name="T25" fmla="*/ 395 h 469"/>
                <a:gd name="T26" fmla="*/ 391 w 475"/>
                <a:gd name="T27"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5" h="469">
                  <a:moveTo>
                    <a:pt x="0" y="236"/>
                  </a:moveTo>
                  <a:cubicBezTo>
                    <a:pt x="0" y="235"/>
                    <a:pt x="0" y="235"/>
                    <a:pt x="0" y="235"/>
                  </a:cubicBezTo>
                  <a:cubicBezTo>
                    <a:pt x="0" y="107"/>
                    <a:pt x="99" y="0"/>
                    <a:pt x="238" y="0"/>
                  </a:cubicBezTo>
                  <a:cubicBezTo>
                    <a:pt x="378" y="0"/>
                    <a:pt x="475" y="105"/>
                    <a:pt x="475" y="233"/>
                  </a:cubicBezTo>
                  <a:cubicBezTo>
                    <a:pt x="475" y="235"/>
                    <a:pt x="475" y="235"/>
                    <a:pt x="475" y="235"/>
                  </a:cubicBezTo>
                  <a:cubicBezTo>
                    <a:pt x="475" y="362"/>
                    <a:pt x="376" y="469"/>
                    <a:pt x="237" y="469"/>
                  </a:cubicBezTo>
                  <a:cubicBezTo>
                    <a:pt x="97" y="469"/>
                    <a:pt x="0" y="364"/>
                    <a:pt x="0" y="236"/>
                  </a:cubicBezTo>
                  <a:close/>
                  <a:moveTo>
                    <a:pt x="391" y="236"/>
                  </a:moveTo>
                  <a:cubicBezTo>
                    <a:pt x="391" y="235"/>
                    <a:pt x="391" y="235"/>
                    <a:pt x="391" y="235"/>
                  </a:cubicBezTo>
                  <a:cubicBezTo>
                    <a:pt x="391" y="146"/>
                    <a:pt x="327" y="73"/>
                    <a:pt x="237" y="73"/>
                  </a:cubicBezTo>
                  <a:cubicBezTo>
                    <a:pt x="147" y="73"/>
                    <a:pt x="84" y="145"/>
                    <a:pt x="84" y="233"/>
                  </a:cubicBezTo>
                  <a:cubicBezTo>
                    <a:pt x="84" y="235"/>
                    <a:pt x="84" y="235"/>
                    <a:pt x="84" y="235"/>
                  </a:cubicBezTo>
                  <a:cubicBezTo>
                    <a:pt x="84" y="323"/>
                    <a:pt x="148" y="395"/>
                    <a:pt x="238" y="395"/>
                  </a:cubicBezTo>
                  <a:cubicBezTo>
                    <a:pt x="328" y="395"/>
                    <a:pt x="391" y="324"/>
                    <a:pt x="391"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9" name="Picture 8">
              <a:extLst>
                <a:ext uri="{FF2B5EF4-FFF2-40B4-BE49-F238E27FC236}">
                  <a16:creationId xmlns:a16="http://schemas.microsoft.com/office/drawing/2014/main" id="{9BD74251-ADDF-3DB7-6099-926B132D3362}"/>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94538" y="-1012825"/>
              <a:ext cx="1804988"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a:extLst>
                <a:ext uri="{FF2B5EF4-FFF2-40B4-BE49-F238E27FC236}">
                  <a16:creationId xmlns:a16="http://schemas.microsoft.com/office/drawing/2014/main" id="{7BCA87F9-5CB5-1DCB-7E50-1C9452BB6B1F}"/>
                </a:ext>
              </a:extLst>
            </p:cNvPr>
            <p:cNvSpPr>
              <a:spLocks/>
            </p:cNvSpPr>
            <p:nvPr userDrawn="1"/>
          </p:nvSpPr>
          <p:spPr bwMode="auto">
            <a:xfrm>
              <a:off x="9807576" y="-279400"/>
              <a:ext cx="85725" cy="84138"/>
            </a:xfrm>
            <a:custGeom>
              <a:avLst/>
              <a:gdLst>
                <a:gd name="T0" fmla="*/ 7 w 54"/>
                <a:gd name="T1" fmla="*/ 13 h 53"/>
                <a:gd name="T2" fmla="*/ 7 w 54"/>
                <a:gd name="T3" fmla="*/ 53 h 53"/>
                <a:gd name="T4" fmla="*/ 0 w 54"/>
                <a:gd name="T5" fmla="*/ 53 h 53"/>
                <a:gd name="T6" fmla="*/ 0 w 54"/>
                <a:gd name="T7" fmla="*/ 0 h 53"/>
                <a:gd name="T8" fmla="*/ 8 w 54"/>
                <a:gd name="T9" fmla="*/ 0 h 53"/>
                <a:gd name="T10" fmla="*/ 27 w 54"/>
                <a:gd name="T11" fmla="*/ 31 h 53"/>
                <a:gd name="T12" fmla="*/ 46 w 54"/>
                <a:gd name="T13" fmla="*/ 0 h 53"/>
                <a:gd name="T14" fmla="*/ 54 w 54"/>
                <a:gd name="T15" fmla="*/ 0 h 53"/>
                <a:gd name="T16" fmla="*/ 54 w 54"/>
                <a:gd name="T17" fmla="*/ 53 h 53"/>
                <a:gd name="T18" fmla="*/ 46 w 54"/>
                <a:gd name="T19" fmla="*/ 53 h 53"/>
                <a:gd name="T20" fmla="*/ 46 w 54"/>
                <a:gd name="T21" fmla="*/ 13 h 53"/>
                <a:gd name="T22" fmla="*/ 27 w 54"/>
                <a:gd name="T23" fmla="*/ 43 h 53"/>
                <a:gd name="T24" fmla="*/ 7 w 54"/>
                <a:gd name="T25"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7" y="13"/>
                  </a:moveTo>
                  <a:lnTo>
                    <a:pt x="7" y="53"/>
                  </a:lnTo>
                  <a:lnTo>
                    <a:pt x="0" y="53"/>
                  </a:lnTo>
                  <a:lnTo>
                    <a:pt x="0" y="0"/>
                  </a:lnTo>
                  <a:lnTo>
                    <a:pt x="8" y="0"/>
                  </a:lnTo>
                  <a:lnTo>
                    <a:pt x="27" y="31"/>
                  </a:lnTo>
                  <a:lnTo>
                    <a:pt x="46" y="0"/>
                  </a:lnTo>
                  <a:lnTo>
                    <a:pt x="54" y="0"/>
                  </a:lnTo>
                  <a:lnTo>
                    <a:pt x="54" y="53"/>
                  </a:lnTo>
                  <a:lnTo>
                    <a:pt x="46" y="53"/>
                  </a:lnTo>
                  <a:lnTo>
                    <a:pt x="46" y="13"/>
                  </a:lnTo>
                  <a:lnTo>
                    <a:pt x="27" y="43"/>
                  </a:lnTo>
                  <a:lnTo>
                    <a:pt x="7"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a:extLst>
                <a:ext uri="{FF2B5EF4-FFF2-40B4-BE49-F238E27FC236}">
                  <a16:creationId xmlns:a16="http://schemas.microsoft.com/office/drawing/2014/main" id="{28AC1DF4-A5FF-BD48-42A9-C82BBCC1C960}"/>
                </a:ext>
              </a:extLst>
            </p:cNvPr>
            <p:cNvSpPr>
              <a:spLocks/>
            </p:cNvSpPr>
            <p:nvPr userDrawn="1"/>
          </p:nvSpPr>
          <p:spPr bwMode="auto">
            <a:xfrm>
              <a:off x="9729788" y="-282575"/>
              <a:ext cx="63500" cy="93663"/>
            </a:xfrm>
            <a:custGeom>
              <a:avLst/>
              <a:gdLst>
                <a:gd name="T0" fmla="*/ 29 w 36"/>
                <a:gd name="T1" fmla="*/ 13 h 52"/>
                <a:gd name="T2" fmla="*/ 24 w 36"/>
                <a:gd name="T3" fmla="*/ 9 h 52"/>
                <a:gd name="T4" fmla="*/ 10 w 36"/>
                <a:gd name="T5" fmla="*/ 9 h 52"/>
                <a:gd name="T6" fmla="*/ 10 w 36"/>
                <a:gd name="T7" fmla="*/ 18 h 52"/>
                <a:gd name="T8" fmla="*/ 15 w 36"/>
                <a:gd name="T9" fmla="*/ 20 h 52"/>
                <a:gd name="T10" fmla="*/ 27 w 36"/>
                <a:gd name="T11" fmla="*/ 25 h 52"/>
                <a:gd name="T12" fmla="*/ 32 w 36"/>
                <a:gd name="T13" fmla="*/ 29 h 52"/>
                <a:gd name="T14" fmla="*/ 30 w 36"/>
                <a:gd name="T15" fmla="*/ 46 h 52"/>
                <a:gd name="T16" fmla="*/ 0 w 36"/>
                <a:gd name="T17" fmla="*/ 42 h 52"/>
                <a:gd name="T18" fmla="*/ 4 w 36"/>
                <a:gd name="T19" fmla="*/ 37 h 52"/>
                <a:gd name="T20" fmla="*/ 25 w 36"/>
                <a:gd name="T21" fmla="*/ 41 h 52"/>
                <a:gd name="T22" fmla="*/ 24 w 36"/>
                <a:gd name="T23" fmla="*/ 31 h 52"/>
                <a:gd name="T24" fmla="*/ 18 w 36"/>
                <a:gd name="T25" fmla="*/ 28 h 52"/>
                <a:gd name="T26" fmla="*/ 4 w 36"/>
                <a:gd name="T27" fmla="*/ 21 h 52"/>
                <a:gd name="T28" fmla="*/ 6 w 36"/>
                <a:gd name="T29" fmla="*/ 5 h 52"/>
                <a:gd name="T30" fmla="*/ 27 w 36"/>
                <a:gd name="T31" fmla="*/ 3 h 52"/>
                <a:gd name="T32" fmla="*/ 33 w 36"/>
                <a:gd name="T33" fmla="*/ 8 h 52"/>
                <a:gd name="T34" fmla="*/ 29 w 36"/>
                <a:gd name="T35" fmla="*/ 1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52">
                  <a:moveTo>
                    <a:pt x="29" y="13"/>
                  </a:moveTo>
                  <a:cubicBezTo>
                    <a:pt x="28" y="11"/>
                    <a:pt x="26" y="10"/>
                    <a:pt x="24" y="9"/>
                  </a:cubicBezTo>
                  <a:cubicBezTo>
                    <a:pt x="20" y="7"/>
                    <a:pt x="14" y="7"/>
                    <a:pt x="10" y="9"/>
                  </a:cubicBezTo>
                  <a:cubicBezTo>
                    <a:pt x="7" y="11"/>
                    <a:pt x="7" y="16"/>
                    <a:pt x="10" y="18"/>
                  </a:cubicBezTo>
                  <a:cubicBezTo>
                    <a:pt x="11" y="19"/>
                    <a:pt x="13" y="20"/>
                    <a:pt x="15" y="20"/>
                  </a:cubicBezTo>
                  <a:cubicBezTo>
                    <a:pt x="19" y="22"/>
                    <a:pt x="24" y="23"/>
                    <a:pt x="27" y="25"/>
                  </a:cubicBezTo>
                  <a:cubicBezTo>
                    <a:pt x="29" y="26"/>
                    <a:pt x="31" y="27"/>
                    <a:pt x="32" y="29"/>
                  </a:cubicBezTo>
                  <a:cubicBezTo>
                    <a:pt x="36" y="34"/>
                    <a:pt x="34" y="42"/>
                    <a:pt x="30" y="46"/>
                  </a:cubicBezTo>
                  <a:cubicBezTo>
                    <a:pt x="22" y="52"/>
                    <a:pt x="5" y="50"/>
                    <a:pt x="0" y="42"/>
                  </a:cubicBezTo>
                  <a:cubicBezTo>
                    <a:pt x="4" y="37"/>
                    <a:pt x="4" y="37"/>
                    <a:pt x="4" y="37"/>
                  </a:cubicBezTo>
                  <a:cubicBezTo>
                    <a:pt x="8" y="43"/>
                    <a:pt x="19" y="45"/>
                    <a:pt x="25" y="41"/>
                  </a:cubicBezTo>
                  <a:cubicBezTo>
                    <a:pt x="28" y="39"/>
                    <a:pt x="28" y="34"/>
                    <a:pt x="24" y="31"/>
                  </a:cubicBezTo>
                  <a:cubicBezTo>
                    <a:pt x="23" y="30"/>
                    <a:pt x="20" y="29"/>
                    <a:pt x="18" y="28"/>
                  </a:cubicBezTo>
                  <a:cubicBezTo>
                    <a:pt x="13" y="26"/>
                    <a:pt x="7" y="25"/>
                    <a:pt x="4" y="21"/>
                  </a:cubicBezTo>
                  <a:cubicBezTo>
                    <a:pt x="0" y="17"/>
                    <a:pt x="0" y="8"/>
                    <a:pt x="6" y="5"/>
                  </a:cubicBezTo>
                  <a:cubicBezTo>
                    <a:pt x="11" y="1"/>
                    <a:pt x="21" y="0"/>
                    <a:pt x="27" y="3"/>
                  </a:cubicBezTo>
                  <a:cubicBezTo>
                    <a:pt x="30" y="5"/>
                    <a:pt x="32" y="6"/>
                    <a:pt x="33" y="8"/>
                  </a:cubicBezTo>
                  <a:lnTo>
                    <a:pt x="29"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Footer Placeholder 3">
            <a:extLst>
              <a:ext uri="{FF2B5EF4-FFF2-40B4-BE49-F238E27FC236}">
                <a16:creationId xmlns:a16="http://schemas.microsoft.com/office/drawing/2014/main" id="{9BCB3D85-04E2-E355-0E5F-2A51A8124827}"/>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16" name="Slide Number Placeholder 3">
            <a:extLst>
              <a:ext uri="{FF2B5EF4-FFF2-40B4-BE49-F238E27FC236}">
                <a16:creationId xmlns:a16="http://schemas.microsoft.com/office/drawing/2014/main" id="{38600DE5-E289-C672-667A-38598370C386}"/>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Tree>
    <p:extLst>
      <p:ext uri="{BB962C8B-B14F-4D97-AF65-F5344CB8AC3E}">
        <p14:creationId xmlns:p14="http://schemas.microsoft.com/office/powerpoint/2010/main" val="16153364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1E3E71"/>
        </a:solidFill>
        <a:effectLst/>
      </p:bgPr>
    </p:bg>
    <p:spTree>
      <p:nvGrpSpPr>
        <p:cNvPr id="1" name=""/>
        <p:cNvGrpSpPr/>
        <p:nvPr/>
      </p:nvGrpSpPr>
      <p:grpSpPr>
        <a:xfrm>
          <a:off x="0" y="0"/>
          <a:ext cx="0" cy="0"/>
          <a:chOff x="0" y="0"/>
          <a:chExt cx="0" cy="0"/>
        </a:xfrm>
      </p:grpSpPr>
      <p:sp>
        <p:nvSpPr>
          <p:cNvPr id="27" name="Freeform 9">
            <a:extLst>
              <a:ext uri="{FF2B5EF4-FFF2-40B4-BE49-F238E27FC236}">
                <a16:creationId xmlns:a16="http://schemas.microsoft.com/office/drawing/2014/main" id="{817A3EE4-E855-07AB-A587-356CD2500A28}"/>
              </a:ext>
            </a:extLst>
          </p:cNvPr>
          <p:cNvSpPr>
            <a:spLocks noEditPoints="1"/>
          </p:cNvSpPr>
          <p:nvPr userDrawn="1"/>
        </p:nvSpPr>
        <p:spPr bwMode="auto">
          <a:xfrm>
            <a:off x="8904567" y="685669"/>
            <a:ext cx="2713467" cy="647831"/>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Rectangle 22">
            <a:extLst>
              <a:ext uri="{FF2B5EF4-FFF2-40B4-BE49-F238E27FC236}">
                <a16:creationId xmlns:a16="http://schemas.microsoft.com/office/drawing/2014/main" id="{F83F9085-1DFE-0E9F-309A-77614E1C87A4}"/>
              </a:ext>
            </a:extLst>
          </p:cNvPr>
          <p:cNvSpPr/>
          <p:nvPr userDrawn="1"/>
        </p:nvSpPr>
        <p:spPr>
          <a:xfrm>
            <a:off x="-1" y="1247831"/>
            <a:ext cx="12192785" cy="5610168"/>
          </a:xfrm>
          <a:custGeom>
            <a:avLst/>
            <a:gdLst>
              <a:gd name="connsiteX0" fmla="*/ 0 w 12192000"/>
              <a:gd name="connsiteY0" fmla="*/ 0 h 5600698"/>
              <a:gd name="connsiteX1" fmla="*/ 12192000 w 12192000"/>
              <a:gd name="connsiteY1" fmla="*/ 0 h 5600698"/>
              <a:gd name="connsiteX2" fmla="*/ 12192000 w 12192000"/>
              <a:gd name="connsiteY2" fmla="*/ 5600698 h 5600698"/>
              <a:gd name="connsiteX3" fmla="*/ 0 w 12192000"/>
              <a:gd name="connsiteY3" fmla="*/ 5600698 h 5600698"/>
              <a:gd name="connsiteX4" fmla="*/ 0 w 12192000"/>
              <a:gd name="connsiteY4" fmla="*/ 0 h 5600698"/>
              <a:gd name="connsiteX0" fmla="*/ 0 w 12200164"/>
              <a:gd name="connsiteY0" fmla="*/ 0 h 5600698"/>
              <a:gd name="connsiteX1" fmla="*/ 12200164 w 12200164"/>
              <a:gd name="connsiteY1" fmla="*/ 3118757 h 5600698"/>
              <a:gd name="connsiteX2" fmla="*/ 12192000 w 12200164"/>
              <a:gd name="connsiteY2" fmla="*/ 5600698 h 5600698"/>
              <a:gd name="connsiteX3" fmla="*/ 0 w 12200164"/>
              <a:gd name="connsiteY3" fmla="*/ 5600698 h 5600698"/>
              <a:gd name="connsiteX4" fmla="*/ 0 w 12200164"/>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6477 h 5607175"/>
              <a:gd name="connsiteX1" fmla="*/ 12191999 w 12192785"/>
              <a:gd name="connsiteY1" fmla="*/ 1533198 h 5607175"/>
              <a:gd name="connsiteX2" fmla="*/ 12192000 w 12192785"/>
              <a:gd name="connsiteY2" fmla="*/ 5607175 h 5607175"/>
              <a:gd name="connsiteX3" fmla="*/ 0 w 12192785"/>
              <a:gd name="connsiteY3" fmla="*/ 5607175 h 5607175"/>
              <a:gd name="connsiteX4" fmla="*/ 0 w 12192785"/>
              <a:gd name="connsiteY4" fmla="*/ 6477 h 5607175"/>
              <a:gd name="connsiteX0" fmla="*/ 8164 w 12192785"/>
              <a:gd name="connsiteY0" fmla="*/ 8524 h 5462265"/>
              <a:gd name="connsiteX1" fmla="*/ 12191999 w 12192785"/>
              <a:gd name="connsiteY1" fmla="*/ 1388288 h 5462265"/>
              <a:gd name="connsiteX2" fmla="*/ 12192000 w 12192785"/>
              <a:gd name="connsiteY2" fmla="*/ 5462265 h 5462265"/>
              <a:gd name="connsiteX3" fmla="*/ 0 w 12192785"/>
              <a:gd name="connsiteY3" fmla="*/ 5462265 h 5462265"/>
              <a:gd name="connsiteX4" fmla="*/ 8164 w 12192785"/>
              <a:gd name="connsiteY4" fmla="*/ 8524 h 5462265"/>
              <a:gd name="connsiteX0" fmla="*/ 16329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16329 w 12192785"/>
              <a:gd name="connsiteY4" fmla="*/ 6657 h 5591026"/>
              <a:gd name="connsiteX0" fmla="*/ 8164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8164 w 12192785"/>
              <a:gd name="connsiteY4" fmla="*/ 6657 h 5591026"/>
              <a:gd name="connsiteX0" fmla="*/ 8164 w 12192785"/>
              <a:gd name="connsiteY0" fmla="*/ 24223 h 5608592"/>
              <a:gd name="connsiteX1" fmla="*/ 12191999 w 12192785"/>
              <a:gd name="connsiteY1" fmla="*/ 1534615 h 5608592"/>
              <a:gd name="connsiteX2" fmla="*/ 12192000 w 12192785"/>
              <a:gd name="connsiteY2" fmla="*/ 5608592 h 5608592"/>
              <a:gd name="connsiteX3" fmla="*/ 0 w 12192785"/>
              <a:gd name="connsiteY3" fmla="*/ 5608592 h 5608592"/>
              <a:gd name="connsiteX4" fmla="*/ 8164 w 12192785"/>
              <a:gd name="connsiteY4" fmla="*/ 24223 h 5608592"/>
              <a:gd name="connsiteX0" fmla="*/ 8164 w 12192785"/>
              <a:gd name="connsiteY0" fmla="*/ 15704 h 5600073"/>
              <a:gd name="connsiteX1" fmla="*/ 12191999 w 12192785"/>
              <a:gd name="connsiteY1" fmla="*/ 1526096 h 5600073"/>
              <a:gd name="connsiteX2" fmla="*/ 12192000 w 12192785"/>
              <a:gd name="connsiteY2" fmla="*/ 5600073 h 5600073"/>
              <a:gd name="connsiteX3" fmla="*/ 0 w 12192785"/>
              <a:gd name="connsiteY3" fmla="*/ 5600073 h 5600073"/>
              <a:gd name="connsiteX4" fmla="*/ 8164 w 12192785"/>
              <a:gd name="connsiteY4" fmla="*/ 15704 h 5600073"/>
              <a:gd name="connsiteX0" fmla="*/ 8164 w 12192785"/>
              <a:gd name="connsiteY0" fmla="*/ 25799 h 5610168"/>
              <a:gd name="connsiteX1" fmla="*/ 12191999 w 12192785"/>
              <a:gd name="connsiteY1" fmla="*/ 1536191 h 5610168"/>
              <a:gd name="connsiteX2" fmla="*/ 12192000 w 12192785"/>
              <a:gd name="connsiteY2" fmla="*/ 5610168 h 5610168"/>
              <a:gd name="connsiteX3" fmla="*/ 0 w 12192785"/>
              <a:gd name="connsiteY3" fmla="*/ 5610168 h 5610168"/>
              <a:gd name="connsiteX4" fmla="*/ 8164 w 12192785"/>
              <a:gd name="connsiteY4" fmla="*/ 25799 h 5610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785" h="5610168">
                <a:moveTo>
                  <a:pt x="8164" y="25799"/>
                </a:moveTo>
                <a:cubicBezTo>
                  <a:pt x="3541485" y="-126601"/>
                  <a:pt x="8413748" y="398634"/>
                  <a:pt x="12191999" y="1536191"/>
                </a:cubicBezTo>
                <a:cubicBezTo>
                  <a:pt x="12189278" y="2363505"/>
                  <a:pt x="12194721" y="4782854"/>
                  <a:pt x="12192000" y="5610168"/>
                </a:cubicBezTo>
                <a:lnTo>
                  <a:pt x="0" y="5610168"/>
                </a:lnTo>
                <a:cubicBezTo>
                  <a:pt x="2721" y="3792254"/>
                  <a:pt x="5443" y="1843713"/>
                  <a:pt x="8164" y="25799"/>
                </a:cubicBezTo>
                <a:close/>
              </a:path>
            </a:pathLst>
          </a:custGeom>
          <a:gradFill>
            <a:gsLst>
              <a:gs pos="0">
                <a:schemeClr val="accent1"/>
              </a:gs>
              <a:gs pos="56000">
                <a:srgbClr val="00599A"/>
              </a:gs>
              <a:gs pos="100000">
                <a:srgbClr val="00A6E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5">
            <a:extLst>
              <a:ext uri="{FF2B5EF4-FFF2-40B4-BE49-F238E27FC236}">
                <a16:creationId xmlns:a16="http://schemas.microsoft.com/office/drawing/2014/main" id="{A6DB7C1B-C63D-BA24-9C96-E02DB64FD5EC}"/>
              </a:ext>
            </a:extLst>
          </p:cNvPr>
          <p:cNvSpPr>
            <a:spLocks noGrp="1"/>
          </p:cNvSpPr>
          <p:nvPr>
            <p:ph type="body" sz="quarter" idx="13"/>
          </p:nvPr>
        </p:nvSpPr>
        <p:spPr>
          <a:xfrm>
            <a:off x="911578" y="5150651"/>
            <a:ext cx="7441847" cy="853833"/>
          </a:xfrm>
        </p:spPr>
        <p:txBody>
          <a:bodyPr/>
          <a:lstStyle>
            <a:lvl1pPr marL="0" indent="0">
              <a:buNone/>
              <a:defRPr sz="1500" b="1">
                <a:solidFill>
                  <a:schemeClr val="bg1"/>
                </a:solidFill>
              </a:defRPr>
            </a:lvl1pPr>
            <a:lvl2pPr marL="0" indent="0">
              <a:spcBef>
                <a:spcPts val="300"/>
              </a:spcBef>
              <a:buNone/>
              <a:defRPr sz="1500">
                <a:solidFill>
                  <a:schemeClr val="bg1"/>
                </a:solidFill>
              </a:defRPr>
            </a:lvl2pPr>
            <a:lvl3pPr marL="428625" indent="0">
              <a:buNone/>
              <a:defRPr>
                <a:solidFill>
                  <a:schemeClr val="bg1"/>
                </a:solidFill>
              </a:defRPr>
            </a:lvl3pPr>
            <a:lvl4pPr marL="631825" indent="0">
              <a:buNone/>
              <a:defRPr>
                <a:solidFill>
                  <a:schemeClr val="bg1"/>
                </a:solidFill>
              </a:defRPr>
            </a:lvl4pPr>
            <a:lvl5pPr marL="857250" indent="0">
              <a:buNone/>
              <a:defRPr>
                <a:solidFill>
                  <a:schemeClr val="bg1"/>
                </a:solidFill>
              </a:defRPr>
            </a:lvl5pPr>
          </a:lstStyle>
          <a:p>
            <a:pPr lvl="0"/>
            <a:r>
              <a:rPr lang="en-US"/>
              <a:t>Click to edit Master text styles</a:t>
            </a:r>
          </a:p>
          <a:p>
            <a:pPr lvl="1"/>
            <a:r>
              <a:rPr lang="en-US"/>
              <a:t>Second level</a:t>
            </a:r>
          </a:p>
        </p:txBody>
      </p:sp>
      <p:sp>
        <p:nvSpPr>
          <p:cNvPr id="3" name="Title 1">
            <a:extLst>
              <a:ext uri="{FF2B5EF4-FFF2-40B4-BE49-F238E27FC236}">
                <a16:creationId xmlns:a16="http://schemas.microsoft.com/office/drawing/2014/main" id="{26BD04E3-4D56-92E7-F5EC-5D8DB6690518}"/>
              </a:ext>
            </a:extLst>
          </p:cNvPr>
          <p:cNvSpPr>
            <a:spLocks noGrp="1"/>
          </p:cNvSpPr>
          <p:nvPr>
            <p:ph type="ctrTitle"/>
          </p:nvPr>
        </p:nvSpPr>
        <p:spPr>
          <a:xfrm>
            <a:off x="887086" y="1715484"/>
            <a:ext cx="7236378" cy="1781402"/>
          </a:xfrm>
        </p:spPr>
        <p:txBody>
          <a:bodyPr lIns="0" tIns="0" rIns="0" bIns="0" anchor="b">
            <a:noAutofit/>
          </a:bodyPr>
          <a:lstStyle>
            <a:lvl1pPr algn="l">
              <a:defRPr sz="3600" b="1"/>
            </a:lvl1pPr>
          </a:lstStyle>
          <a:p>
            <a:r>
              <a:rPr lang="en-US"/>
              <a:t>Click to edit Master title style</a:t>
            </a:r>
          </a:p>
        </p:txBody>
      </p:sp>
      <p:sp>
        <p:nvSpPr>
          <p:cNvPr id="4" name="Subtitle 2">
            <a:extLst>
              <a:ext uri="{FF2B5EF4-FFF2-40B4-BE49-F238E27FC236}">
                <a16:creationId xmlns:a16="http://schemas.microsoft.com/office/drawing/2014/main" id="{42EF4E99-D2F8-676A-290E-6997E2EA6E18}"/>
              </a:ext>
            </a:extLst>
          </p:cNvPr>
          <p:cNvSpPr>
            <a:spLocks noGrp="1"/>
          </p:cNvSpPr>
          <p:nvPr>
            <p:ph type="subTitle" idx="1"/>
          </p:nvPr>
        </p:nvSpPr>
        <p:spPr>
          <a:xfrm>
            <a:off x="887086" y="3818963"/>
            <a:ext cx="7236378" cy="948979"/>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4D3AEA66-177B-376A-09AC-C9060711291F}"/>
              </a:ext>
            </a:extLst>
          </p:cNvPr>
          <p:cNvCxnSpPr/>
          <p:nvPr userDrawn="1"/>
        </p:nvCxnSpPr>
        <p:spPr>
          <a:xfrm>
            <a:off x="903414" y="4906736"/>
            <a:ext cx="273785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3">
            <a:extLst>
              <a:ext uri="{FF2B5EF4-FFF2-40B4-BE49-F238E27FC236}">
                <a16:creationId xmlns:a16="http://schemas.microsoft.com/office/drawing/2014/main" id="{AD9E0973-0A3A-9F3A-4400-5C2433BAA5F9}"/>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6" name="Slide Number Placeholder 3">
            <a:extLst>
              <a:ext uri="{FF2B5EF4-FFF2-40B4-BE49-F238E27FC236}">
                <a16:creationId xmlns:a16="http://schemas.microsoft.com/office/drawing/2014/main" id="{E01AF6FD-38F7-E78B-5690-F3F00F2983E8}"/>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Tree>
    <p:extLst>
      <p:ext uri="{BB962C8B-B14F-4D97-AF65-F5344CB8AC3E}">
        <p14:creationId xmlns:p14="http://schemas.microsoft.com/office/powerpoint/2010/main" val="3879066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rgbClr val="1E3E71"/>
        </a:solidFill>
        <a:effectLst/>
      </p:bgPr>
    </p:bg>
    <p:spTree>
      <p:nvGrpSpPr>
        <p:cNvPr id="1" name=""/>
        <p:cNvGrpSpPr/>
        <p:nvPr/>
      </p:nvGrpSpPr>
      <p:grpSpPr>
        <a:xfrm>
          <a:off x="0" y="0"/>
          <a:ext cx="0" cy="0"/>
          <a:chOff x="0" y="0"/>
          <a:chExt cx="0" cy="0"/>
        </a:xfrm>
      </p:grpSpPr>
      <p:sp>
        <p:nvSpPr>
          <p:cNvPr id="27" name="Freeform 9">
            <a:extLst>
              <a:ext uri="{FF2B5EF4-FFF2-40B4-BE49-F238E27FC236}">
                <a16:creationId xmlns:a16="http://schemas.microsoft.com/office/drawing/2014/main" id="{817A3EE4-E855-07AB-A587-356CD2500A28}"/>
              </a:ext>
            </a:extLst>
          </p:cNvPr>
          <p:cNvSpPr>
            <a:spLocks noEditPoints="1"/>
          </p:cNvSpPr>
          <p:nvPr userDrawn="1"/>
        </p:nvSpPr>
        <p:spPr bwMode="auto">
          <a:xfrm>
            <a:off x="8904567" y="685669"/>
            <a:ext cx="2713467" cy="647831"/>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Rectangle 22">
            <a:extLst>
              <a:ext uri="{FF2B5EF4-FFF2-40B4-BE49-F238E27FC236}">
                <a16:creationId xmlns:a16="http://schemas.microsoft.com/office/drawing/2014/main" id="{F83F9085-1DFE-0E9F-309A-77614E1C87A4}"/>
              </a:ext>
            </a:extLst>
          </p:cNvPr>
          <p:cNvSpPr/>
          <p:nvPr userDrawn="1"/>
        </p:nvSpPr>
        <p:spPr>
          <a:xfrm>
            <a:off x="-1" y="750498"/>
            <a:ext cx="12192785" cy="6107501"/>
          </a:xfrm>
          <a:custGeom>
            <a:avLst/>
            <a:gdLst>
              <a:gd name="connsiteX0" fmla="*/ 0 w 12192000"/>
              <a:gd name="connsiteY0" fmla="*/ 0 h 5600698"/>
              <a:gd name="connsiteX1" fmla="*/ 12192000 w 12192000"/>
              <a:gd name="connsiteY1" fmla="*/ 0 h 5600698"/>
              <a:gd name="connsiteX2" fmla="*/ 12192000 w 12192000"/>
              <a:gd name="connsiteY2" fmla="*/ 5600698 h 5600698"/>
              <a:gd name="connsiteX3" fmla="*/ 0 w 12192000"/>
              <a:gd name="connsiteY3" fmla="*/ 5600698 h 5600698"/>
              <a:gd name="connsiteX4" fmla="*/ 0 w 12192000"/>
              <a:gd name="connsiteY4" fmla="*/ 0 h 5600698"/>
              <a:gd name="connsiteX0" fmla="*/ 0 w 12200164"/>
              <a:gd name="connsiteY0" fmla="*/ 0 h 5600698"/>
              <a:gd name="connsiteX1" fmla="*/ 12200164 w 12200164"/>
              <a:gd name="connsiteY1" fmla="*/ 3118757 h 5600698"/>
              <a:gd name="connsiteX2" fmla="*/ 12192000 w 12200164"/>
              <a:gd name="connsiteY2" fmla="*/ 5600698 h 5600698"/>
              <a:gd name="connsiteX3" fmla="*/ 0 w 12200164"/>
              <a:gd name="connsiteY3" fmla="*/ 5600698 h 5600698"/>
              <a:gd name="connsiteX4" fmla="*/ 0 w 12200164"/>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6477 h 5607175"/>
              <a:gd name="connsiteX1" fmla="*/ 12191999 w 12192785"/>
              <a:gd name="connsiteY1" fmla="*/ 1533198 h 5607175"/>
              <a:gd name="connsiteX2" fmla="*/ 12192000 w 12192785"/>
              <a:gd name="connsiteY2" fmla="*/ 5607175 h 5607175"/>
              <a:gd name="connsiteX3" fmla="*/ 0 w 12192785"/>
              <a:gd name="connsiteY3" fmla="*/ 5607175 h 5607175"/>
              <a:gd name="connsiteX4" fmla="*/ 0 w 12192785"/>
              <a:gd name="connsiteY4" fmla="*/ 6477 h 5607175"/>
              <a:gd name="connsiteX0" fmla="*/ 8164 w 12192785"/>
              <a:gd name="connsiteY0" fmla="*/ 8524 h 5462265"/>
              <a:gd name="connsiteX1" fmla="*/ 12191999 w 12192785"/>
              <a:gd name="connsiteY1" fmla="*/ 1388288 h 5462265"/>
              <a:gd name="connsiteX2" fmla="*/ 12192000 w 12192785"/>
              <a:gd name="connsiteY2" fmla="*/ 5462265 h 5462265"/>
              <a:gd name="connsiteX3" fmla="*/ 0 w 12192785"/>
              <a:gd name="connsiteY3" fmla="*/ 5462265 h 5462265"/>
              <a:gd name="connsiteX4" fmla="*/ 8164 w 12192785"/>
              <a:gd name="connsiteY4" fmla="*/ 8524 h 5462265"/>
              <a:gd name="connsiteX0" fmla="*/ 16329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16329 w 12192785"/>
              <a:gd name="connsiteY4" fmla="*/ 6657 h 5591026"/>
              <a:gd name="connsiteX0" fmla="*/ 8164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8164 w 12192785"/>
              <a:gd name="connsiteY4" fmla="*/ 6657 h 5591026"/>
              <a:gd name="connsiteX0" fmla="*/ 8164 w 12192785"/>
              <a:gd name="connsiteY0" fmla="*/ 24223 h 5608592"/>
              <a:gd name="connsiteX1" fmla="*/ 12191999 w 12192785"/>
              <a:gd name="connsiteY1" fmla="*/ 1534615 h 5608592"/>
              <a:gd name="connsiteX2" fmla="*/ 12192000 w 12192785"/>
              <a:gd name="connsiteY2" fmla="*/ 5608592 h 5608592"/>
              <a:gd name="connsiteX3" fmla="*/ 0 w 12192785"/>
              <a:gd name="connsiteY3" fmla="*/ 5608592 h 5608592"/>
              <a:gd name="connsiteX4" fmla="*/ 8164 w 12192785"/>
              <a:gd name="connsiteY4" fmla="*/ 24223 h 5608592"/>
              <a:gd name="connsiteX0" fmla="*/ 8164 w 12192785"/>
              <a:gd name="connsiteY0" fmla="*/ 15704 h 5600073"/>
              <a:gd name="connsiteX1" fmla="*/ 12191999 w 12192785"/>
              <a:gd name="connsiteY1" fmla="*/ 1526096 h 5600073"/>
              <a:gd name="connsiteX2" fmla="*/ 12192000 w 12192785"/>
              <a:gd name="connsiteY2" fmla="*/ 5600073 h 5600073"/>
              <a:gd name="connsiteX3" fmla="*/ 0 w 12192785"/>
              <a:gd name="connsiteY3" fmla="*/ 5600073 h 5600073"/>
              <a:gd name="connsiteX4" fmla="*/ 8164 w 12192785"/>
              <a:gd name="connsiteY4" fmla="*/ 15704 h 5600073"/>
              <a:gd name="connsiteX0" fmla="*/ 8164 w 12192785"/>
              <a:gd name="connsiteY0" fmla="*/ 25799 h 5610168"/>
              <a:gd name="connsiteX1" fmla="*/ 12191999 w 12192785"/>
              <a:gd name="connsiteY1" fmla="*/ 1536191 h 5610168"/>
              <a:gd name="connsiteX2" fmla="*/ 12192000 w 12192785"/>
              <a:gd name="connsiteY2" fmla="*/ 5610168 h 5610168"/>
              <a:gd name="connsiteX3" fmla="*/ 0 w 12192785"/>
              <a:gd name="connsiteY3" fmla="*/ 5610168 h 5610168"/>
              <a:gd name="connsiteX4" fmla="*/ 8164 w 12192785"/>
              <a:gd name="connsiteY4" fmla="*/ 25799 h 5610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785" h="5610168">
                <a:moveTo>
                  <a:pt x="8164" y="25799"/>
                </a:moveTo>
                <a:cubicBezTo>
                  <a:pt x="3541485" y="-126601"/>
                  <a:pt x="8413748" y="398634"/>
                  <a:pt x="12191999" y="1536191"/>
                </a:cubicBezTo>
                <a:cubicBezTo>
                  <a:pt x="12189278" y="2363505"/>
                  <a:pt x="12194721" y="4782854"/>
                  <a:pt x="12192000" y="5610168"/>
                </a:cubicBezTo>
                <a:lnTo>
                  <a:pt x="0" y="5610168"/>
                </a:lnTo>
                <a:cubicBezTo>
                  <a:pt x="2721" y="3792254"/>
                  <a:pt x="5443" y="1843713"/>
                  <a:pt x="8164" y="25799"/>
                </a:cubicBezTo>
                <a:close/>
              </a:path>
            </a:pathLst>
          </a:custGeom>
          <a:gradFill>
            <a:gsLst>
              <a:gs pos="0">
                <a:schemeClr val="accent1"/>
              </a:gs>
              <a:gs pos="56000">
                <a:srgbClr val="00599A"/>
              </a:gs>
              <a:gs pos="100000">
                <a:srgbClr val="00A6E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Placeholder 1">
            <a:extLst>
              <a:ext uri="{FF2B5EF4-FFF2-40B4-BE49-F238E27FC236}">
                <a16:creationId xmlns:a16="http://schemas.microsoft.com/office/drawing/2014/main" id="{8540AF78-5314-7B04-50AE-F0D2EFE4B96A}"/>
              </a:ext>
            </a:extLst>
          </p:cNvPr>
          <p:cNvSpPr>
            <a:spLocks noGrp="1"/>
          </p:cNvSpPr>
          <p:nvPr>
            <p:ph type="title"/>
          </p:nvPr>
        </p:nvSpPr>
        <p:spPr>
          <a:xfrm>
            <a:off x="424656" y="3351741"/>
            <a:ext cx="11342687" cy="744008"/>
          </a:xfrm>
          <a:prstGeom prst="rect">
            <a:avLst/>
          </a:prstGeom>
        </p:spPr>
        <p:txBody>
          <a:bodyPr vert="horz" lIns="0" tIns="0" rIns="0" bIns="0" rtlCol="0" anchor="ctr">
            <a:noAutofit/>
          </a:bodyPr>
          <a:lstStyle>
            <a:lvl1pPr>
              <a:defRPr sz="2800"/>
            </a:lvl1pPr>
          </a:lstStyle>
          <a:p>
            <a:r>
              <a:rPr lang="en-US"/>
              <a:t>Click to edit Master title style</a:t>
            </a:r>
          </a:p>
        </p:txBody>
      </p:sp>
      <p:sp>
        <p:nvSpPr>
          <p:cNvPr id="3" name="Footer Placeholder 3">
            <a:extLst>
              <a:ext uri="{FF2B5EF4-FFF2-40B4-BE49-F238E27FC236}">
                <a16:creationId xmlns:a16="http://schemas.microsoft.com/office/drawing/2014/main" id="{EABF4A34-5B55-3203-2732-B56C180062FA}"/>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4" name="Slide Number Placeholder 3">
            <a:extLst>
              <a:ext uri="{FF2B5EF4-FFF2-40B4-BE49-F238E27FC236}">
                <a16:creationId xmlns:a16="http://schemas.microsoft.com/office/drawing/2014/main" id="{728889B1-A835-63B5-002D-A5D1476F095D}"/>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Tree>
    <p:extLst>
      <p:ext uri="{BB962C8B-B14F-4D97-AF65-F5344CB8AC3E}">
        <p14:creationId xmlns:p14="http://schemas.microsoft.com/office/powerpoint/2010/main" val="6011413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Section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8EAB0C-27CE-02CD-A064-021FDE75AE83}"/>
              </a:ext>
            </a:extLst>
          </p:cNvPr>
          <p:cNvSpPr/>
          <p:nvPr userDrawn="1"/>
        </p:nvSpPr>
        <p:spPr>
          <a:xfrm flipH="1">
            <a:off x="0" y="-1"/>
            <a:ext cx="12192000" cy="6858001"/>
          </a:xfrm>
          <a:prstGeom prst="rect">
            <a:avLst/>
          </a:prstGeom>
          <a:gradFill flip="none" rotWithShape="1">
            <a:gsLst>
              <a:gs pos="47000">
                <a:srgbClr val="1462AD"/>
              </a:gs>
              <a:gs pos="0">
                <a:srgbClr val="22305B"/>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hord 9">
            <a:extLst>
              <a:ext uri="{FF2B5EF4-FFF2-40B4-BE49-F238E27FC236}">
                <a16:creationId xmlns:a16="http://schemas.microsoft.com/office/drawing/2014/main" id="{DC79E401-0B2A-2CBC-2641-19EDE0107A4A}"/>
              </a:ext>
            </a:extLst>
          </p:cNvPr>
          <p:cNvSpPr/>
          <p:nvPr userDrawn="1"/>
        </p:nvSpPr>
        <p:spPr>
          <a:xfrm>
            <a:off x="1196552" y="1001601"/>
            <a:ext cx="13361037" cy="13361037"/>
          </a:xfrm>
          <a:prstGeom prst="chord">
            <a:avLst>
              <a:gd name="adj1" fmla="val 11226873"/>
              <a:gd name="adj2" fmla="val 21167167"/>
            </a:avLst>
          </a:prstGeom>
          <a:gradFill flip="none" rotWithShape="1">
            <a:gsLst>
              <a:gs pos="80000">
                <a:srgbClr val="1462AD">
                  <a:alpha val="20000"/>
                </a:srgbClr>
              </a:gs>
              <a:gs pos="0">
                <a:schemeClr val="accent2">
                  <a:alpha val="50000"/>
                </a:schemeClr>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Rectangle 1">
            <a:extLst>
              <a:ext uri="{FF2B5EF4-FFF2-40B4-BE49-F238E27FC236}">
                <a16:creationId xmlns:a16="http://schemas.microsoft.com/office/drawing/2014/main" id="{02A0F569-94E2-4721-0315-D838D4BC55E4}"/>
              </a:ext>
            </a:extLst>
          </p:cNvPr>
          <p:cNvSpPr/>
          <p:nvPr userDrawn="1"/>
        </p:nvSpPr>
        <p:spPr>
          <a:xfrm flipH="1">
            <a:off x="-9" y="-1"/>
            <a:ext cx="7400929" cy="6862764"/>
          </a:xfrm>
          <a:prstGeom prst="rect">
            <a:avLst/>
          </a:prstGeom>
          <a:gradFill>
            <a:gsLst>
              <a:gs pos="37000">
                <a:schemeClr val="bg1">
                  <a:alpha val="0"/>
                </a:schemeClr>
              </a:gs>
              <a:gs pos="100000">
                <a:schemeClr val="accent6"/>
              </a:gs>
            </a:gsLst>
            <a:lin ang="20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blue and black logo&#10;&#10;Description automatically generated">
            <a:extLst>
              <a:ext uri="{FF2B5EF4-FFF2-40B4-BE49-F238E27FC236}">
                <a16:creationId xmlns:a16="http://schemas.microsoft.com/office/drawing/2014/main" id="{AD2D09E2-B758-48E3-267C-BEDD90DD3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595" y="692911"/>
            <a:ext cx="2573288" cy="617381"/>
          </a:xfrm>
          <a:prstGeom prst="rect">
            <a:avLst/>
          </a:prstGeom>
        </p:spPr>
      </p:pic>
      <p:pic>
        <p:nvPicPr>
          <p:cNvPr id="6" name="Picture 5">
            <a:extLst>
              <a:ext uri="{FF2B5EF4-FFF2-40B4-BE49-F238E27FC236}">
                <a16:creationId xmlns:a16="http://schemas.microsoft.com/office/drawing/2014/main" id="{F384B27D-6D62-1D42-14FB-6CB8B3A64531}"/>
              </a:ext>
            </a:extLst>
          </p:cNvPr>
          <p:cNvPicPr>
            <a:picLocks noChangeAspect="1"/>
          </p:cNvPicPr>
          <p:nvPr userDrawn="1"/>
        </p:nvPicPr>
        <p:blipFill>
          <a:blip r:embed="rId3">
            <a:alphaModFix amt="61000"/>
            <a:extLst>
              <a:ext uri="{28A0092B-C50C-407E-A947-70E740481C1C}">
                <a14:useLocalDpi xmlns:a14="http://schemas.microsoft.com/office/drawing/2010/main" val="0"/>
              </a:ext>
            </a:extLst>
          </a:blip>
          <a:srcRect/>
          <a:stretch/>
        </p:blipFill>
        <p:spPr>
          <a:xfrm>
            <a:off x="-1196550" y="2067147"/>
            <a:ext cx="12191998" cy="6311899"/>
          </a:xfrm>
          <a:prstGeom prst="rect">
            <a:avLst/>
          </a:prstGeom>
        </p:spPr>
      </p:pic>
      <p:sp>
        <p:nvSpPr>
          <p:cNvPr id="4" name="Title 1">
            <a:extLst>
              <a:ext uri="{FF2B5EF4-FFF2-40B4-BE49-F238E27FC236}">
                <a16:creationId xmlns:a16="http://schemas.microsoft.com/office/drawing/2014/main" id="{17ADE3A2-64BF-12CE-2CBB-7E4782D101C7}"/>
              </a:ext>
            </a:extLst>
          </p:cNvPr>
          <p:cNvSpPr>
            <a:spLocks noGrp="1"/>
          </p:cNvSpPr>
          <p:nvPr>
            <p:ph type="title" hasCustomPrompt="1"/>
          </p:nvPr>
        </p:nvSpPr>
        <p:spPr>
          <a:xfrm>
            <a:off x="3524963" y="2881372"/>
            <a:ext cx="7910547" cy="1654414"/>
          </a:xfrm>
          <a:prstGeom prst="rect">
            <a:avLst/>
          </a:prstGeom>
        </p:spPr>
        <p:txBody>
          <a:bodyPr lIns="0" tIns="0" rIns="0" bIns="0" anchor="t"/>
          <a:lstStyle>
            <a:lvl1pPr algn="l">
              <a:defRPr lang="en-US" sz="6000" dirty="0">
                <a:solidFill>
                  <a:schemeClr val="bg1"/>
                </a:solidFill>
              </a:defRPr>
            </a:lvl1pPr>
          </a:lstStyle>
          <a:p>
            <a:pPr lvl="0"/>
            <a:r>
              <a:rPr lang="en-US"/>
              <a:t>Brief Title Here up to Two Lines</a:t>
            </a:r>
          </a:p>
        </p:txBody>
      </p:sp>
      <p:cxnSp>
        <p:nvCxnSpPr>
          <p:cNvPr id="9" name="Straight Connector 8">
            <a:extLst>
              <a:ext uri="{FF2B5EF4-FFF2-40B4-BE49-F238E27FC236}">
                <a16:creationId xmlns:a16="http://schemas.microsoft.com/office/drawing/2014/main" id="{59811BF0-5289-54BD-450C-BBC48CA5BF1D}"/>
              </a:ext>
            </a:extLst>
          </p:cNvPr>
          <p:cNvCxnSpPr>
            <a:cxnSpLocks/>
          </p:cNvCxnSpPr>
          <p:nvPr userDrawn="1"/>
        </p:nvCxnSpPr>
        <p:spPr>
          <a:xfrm>
            <a:off x="0" y="3259456"/>
            <a:ext cx="2882096" cy="10312"/>
          </a:xfrm>
          <a:prstGeom prst="line">
            <a:avLst/>
          </a:prstGeom>
          <a:noFill/>
          <a:ln w="12700">
            <a:gradFill>
              <a:gsLst>
                <a:gs pos="0">
                  <a:schemeClr val="bg1"/>
                </a:gs>
                <a:gs pos="72000">
                  <a:schemeClr val="accent2"/>
                </a:gs>
              </a:gsLst>
              <a:lin ang="0" scaled="0"/>
            </a:gradFill>
            <a:headEnd type="none" w="med" len="med"/>
            <a:tailEnd type="oval" w="med" len="med"/>
          </a:ln>
        </p:spPr>
        <p:style>
          <a:lnRef idx="2">
            <a:schemeClr val="accent1">
              <a:shade val="15000"/>
            </a:schemeClr>
          </a:lnRef>
          <a:fillRef idx="1">
            <a:schemeClr val="accent1"/>
          </a:fillRef>
          <a:effectRef idx="0">
            <a:schemeClr val="accent1"/>
          </a:effectRef>
          <a:fontRef idx="minor">
            <a:schemeClr val="lt1"/>
          </a:fontRef>
        </p:style>
      </p:cxnSp>
      <p:sp>
        <p:nvSpPr>
          <p:cNvPr id="7" name="Text Placeholder 15">
            <a:extLst>
              <a:ext uri="{FF2B5EF4-FFF2-40B4-BE49-F238E27FC236}">
                <a16:creationId xmlns:a16="http://schemas.microsoft.com/office/drawing/2014/main" id="{837D880E-36B5-8400-DD9E-CF6B3BA40E04}"/>
              </a:ext>
            </a:extLst>
          </p:cNvPr>
          <p:cNvSpPr>
            <a:spLocks noGrp="1"/>
          </p:cNvSpPr>
          <p:nvPr>
            <p:ph type="body" sz="quarter" idx="13"/>
          </p:nvPr>
        </p:nvSpPr>
        <p:spPr>
          <a:xfrm>
            <a:off x="751596" y="1445935"/>
            <a:ext cx="2573288" cy="292476"/>
          </a:xfrm>
        </p:spPr>
        <p:txBody>
          <a:bodyPr/>
          <a:lstStyle>
            <a:lvl1pPr marL="0" indent="0" algn="ctr">
              <a:buNone/>
              <a:defRPr sz="1400" b="0">
                <a:solidFill>
                  <a:schemeClr val="accent2"/>
                </a:solidFill>
              </a:defRPr>
            </a:lvl1pPr>
            <a:lvl2pPr marL="0" indent="0">
              <a:spcBef>
                <a:spcPts val="300"/>
              </a:spcBef>
              <a:buNone/>
              <a:defRPr sz="1500">
                <a:solidFill>
                  <a:schemeClr val="bg1"/>
                </a:solidFill>
              </a:defRPr>
            </a:lvl2pPr>
            <a:lvl3pPr marL="428625" indent="0">
              <a:buNone/>
              <a:defRPr>
                <a:solidFill>
                  <a:schemeClr val="bg1"/>
                </a:solidFill>
              </a:defRPr>
            </a:lvl3pPr>
            <a:lvl4pPr marL="631825" indent="0">
              <a:buNone/>
              <a:defRPr>
                <a:solidFill>
                  <a:schemeClr val="bg1"/>
                </a:solidFill>
              </a:defRPr>
            </a:lvl4pPr>
            <a:lvl5pPr marL="857250" indent="0">
              <a:buNone/>
              <a:defRPr>
                <a:solidFill>
                  <a:schemeClr val="bg1"/>
                </a:solidFill>
              </a:defRPr>
            </a:lvl5pPr>
          </a:lstStyle>
          <a:p>
            <a:pPr lvl="0"/>
            <a:r>
              <a:rPr lang="en-US"/>
              <a:t>Click to edit Master text styles</a:t>
            </a:r>
          </a:p>
        </p:txBody>
      </p:sp>
      <p:sp>
        <p:nvSpPr>
          <p:cNvPr id="11" name="Footer Placeholder 3">
            <a:extLst>
              <a:ext uri="{FF2B5EF4-FFF2-40B4-BE49-F238E27FC236}">
                <a16:creationId xmlns:a16="http://schemas.microsoft.com/office/drawing/2014/main" id="{6EA0D75A-6A8C-FDD4-8557-2AAE62F3079B}"/>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12" name="Slide Number Placeholder 3">
            <a:extLst>
              <a:ext uri="{FF2B5EF4-FFF2-40B4-BE49-F238E27FC236}">
                <a16:creationId xmlns:a16="http://schemas.microsoft.com/office/drawing/2014/main" id="{3945D0FB-3E50-C208-44FF-E0DAA3833EE0}"/>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Tree>
    <p:extLst>
      <p:ext uri="{BB962C8B-B14F-4D97-AF65-F5344CB8AC3E}">
        <p14:creationId xmlns:p14="http://schemas.microsoft.com/office/powerpoint/2010/main" val="2406344529"/>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AD9F4-26D7-7EF7-655E-B36ED5D767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1EB051-45A1-B58C-0023-08704A73CE4D}"/>
              </a:ext>
            </a:extLst>
          </p:cNvPr>
          <p:cNvSpPr>
            <a:spLocks noGrp="1"/>
          </p:cNvSpPr>
          <p:nvPr>
            <p:ph idx="1"/>
          </p:nvPr>
        </p:nvSpPr>
        <p:spPr>
          <a:xfrm>
            <a:off x="434622" y="1353253"/>
            <a:ext cx="11338277" cy="4780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19080"/>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Section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8EAB0C-27CE-02CD-A064-021FDE75AE83}"/>
              </a:ext>
            </a:extLst>
          </p:cNvPr>
          <p:cNvSpPr/>
          <p:nvPr userDrawn="1"/>
        </p:nvSpPr>
        <p:spPr>
          <a:xfrm flipH="1">
            <a:off x="0" y="-1"/>
            <a:ext cx="12192000" cy="6858001"/>
          </a:xfrm>
          <a:prstGeom prst="rect">
            <a:avLst/>
          </a:prstGeom>
          <a:gradFill flip="none" rotWithShape="1">
            <a:gsLst>
              <a:gs pos="47000">
                <a:srgbClr val="1462AD"/>
              </a:gs>
              <a:gs pos="0">
                <a:srgbClr val="22305B"/>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hord 9">
            <a:extLst>
              <a:ext uri="{FF2B5EF4-FFF2-40B4-BE49-F238E27FC236}">
                <a16:creationId xmlns:a16="http://schemas.microsoft.com/office/drawing/2014/main" id="{DC79E401-0B2A-2CBC-2641-19EDE0107A4A}"/>
              </a:ext>
            </a:extLst>
          </p:cNvPr>
          <p:cNvSpPr/>
          <p:nvPr userDrawn="1"/>
        </p:nvSpPr>
        <p:spPr>
          <a:xfrm>
            <a:off x="1196552" y="1001601"/>
            <a:ext cx="13361037" cy="13361037"/>
          </a:xfrm>
          <a:prstGeom prst="chord">
            <a:avLst>
              <a:gd name="adj1" fmla="val 11226873"/>
              <a:gd name="adj2" fmla="val 21167167"/>
            </a:avLst>
          </a:prstGeom>
          <a:gradFill flip="none" rotWithShape="1">
            <a:gsLst>
              <a:gs pos="80000">
                <a:srgbClr val="1462AD">
                  <a:alpha val="20000"/>
                </a:srgbClr>
              </a:gs>
              <a:gs pos="0">
                <a:schemeClr val="accent2">
                  <a:alpha val="50000"/>
                </a:schemeClr>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Rectangle 1">
            <a:extLst>
              <a:ext uri="{FF2B5EF4-FFF2-40B4-BE49-F238E27FC236}">
                <a16:creationId xmlns:a16="http://schemas.microsoft.com/office/drawing/2014/main" id="{02A0F569-94E2-4721-0315-D838D4BC55E4}"/>
              </a:ext>
            </a:extLst>
          </p:cNvPr>
          <p:cNvSpPr/>
          <p:nvPr userDrawn="1"/>
        </p:nvSpPr>
        <p:spPr>
          <a:xfrm flipH="1">
            <a:off x="-9" y="-1"/>
            <a:ext cx="7400929" cy="6862764"/>
          </a:xfrm>
          <a:prstGeom prst="rect">
            <a:avLst/>
          </a:prstGeom>
          <a:gradFill>
            <a:gsLst>
              <a:gs pos="37000">
                <a:schemeClr val="bg1">
                  <a:alpha val="0"/>
                </a:schemeClr>
              </a:gs>
              <a:gs pos="100000">
                <a:schemeClr val="accent6"/>
              </a:gs>
            </a:gsLst>
            <a:lin ang="20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blue and black logo&#10;&#10;Description automatically generated">
            <a:extLst>
              <a:ext uri="{FF2B5EF4-FFF2-40B4-BE49-F238E27FC236}">
                <a16:creationId xmlns:a16="http://schemas.microsoft.com/office/drawing/2014/main" id="{AD2D09E2-B758-48E3-267C-BEDD90DD3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595" y="692911"/>
            <a:ext cx="2573288" cy="617381"/>
          </a:xfrm>
          <a:prstGeom prst="rect">
            <a:avLst/>
          </a:prstGeom>
        </p:spPr>
      </p:pic>
      <p:sp>
        <p:nvSpPr>
          <p:cNvPr id="4" name="Title 1">
            <a:extLst>
              <a:ext uri="{FF2B5EF4-FFF2-40B4-BE49-F238E27FC236}">
                <a16:creationId xmlns:a16="http://schemas.microsoft.com/office/drawing/2014/main" id="{17ADE3A2-64BF-12CE-2CBB-7E4782D101C7}"/>
              </a:ext>
            </a:extLst>
          </p:cNvPr>
          <p:cNvSpPr>
            <a:spLocks noGrp="1"/>
          </p:cNvSpPr>
          <p:nvPr>
            <p:ph type="title" hasCustomPrompt="1"/>
          </p:nvPr>
        </p:nvSpPr>
        <p:spPr>
          <a:xfrm>
            <a:off x="3524963" y="2881372"/>
            <a:ext cx="7910547" cy="1654414"/>
          </a:xfrm>
          <a:prstGeom prst="rect">
            <a:avLst/>
          </a:prstGeom>
        </p:spPr>
        <p:txBody>
          <a:bodyPr lIns="0" tIns="0" rIns="0" bIns="0" anchor="t"/>
          <a:lstStyle>
            <a:lvl1pPr algn="l">
              <a:defRPr lang="en-US" sz="6000" dirty="0">
                <a:solidFill>
                  <a:schemeClr val="bg1"/>
                </a:solidFill>
              </a:defRPr>
            </a:lvl1pPr>
          </a:lstStyle>
          <a:p>
            <a:pPr lvl="0"/>
            <a:r>
              <a:rPr lang="en-US"/>
              <a:t>Brief Title Here up to Two Lines</a:t>
            </a:r>
          </a:p>
        </p:txBody>
      </p:sp>
      <p:cxnSp>
        <p:nvCxnSpPr>
          <p:cNvPr id="9" name="Straight Connector 8">
            <a:extLst>
              <a:ext uri="{FF2B5EF4-FFF2-40B4-BE49-F238E27FC236}">
                <a16:creationId xmlns:a16="http://schemas.microsoft.com/office/drawing/2014/main" id="{59811BF0-5289-54BD-450C-BBC48CA5BF1D}"/>
              </a:ext>
            </a:extLst>
          </p:cNvPr>
          <p:cNvCxnSpPr>
            <a:cxnSpLocks/>
          </p:cNvCxnSpPr>
          <p:nvPr userDrawn="1"/>
        </p:nvCxnSpPr>
        <p:spPr>
          <a:xfrm>
            <a:off x="0" y="3259456"/>
            <a:ext cx="2882096" cy="10312"/>
          </a:xfrm>
          <a:prstGeom prst="line">
            <a:avLst/>
          </a:prstGeom>
          <a:noFill/>
          <a:ln w="12700">
            <a:gradFill>
              <a:gsLst>
                <a:gs pos="0">
                  <a:schemeClr val="bg1"/>
                </a:gs>
                <a:gs pos="72000">
                  <a:schemeClr val="accent2"/>
                </a:gs>
              </a:gsLst>
              <a:lin ang="0" scaled="0"/>
            </a:gradFill>
            <a:headEnd type="none" w="med" len="med"/>
            <a:tailEnd type="oval" w="med" len="med"/>
          </a:ln>
        </p:spPr>
        <p:style>
          <a:lnRef idx="2">
            <a:schemeClr val="accent1">
              <a:shade val="15000"/>
            </a:schemeClr>
          </a:lnRef>
          <a:fillRef idx="1">
            <a:schemeClr val="accent1"/>
          </a:fillRef>
          <a:effectRef idx="0">
            <a:schemeClr val="accent1"/>
          </a:effectRef>
          <a:fontRef idx="minor">
            <a:schemeClr val="lt1"/>
          </a:fontRef>
        </p:style>
      </p:cxnSp>
      <p:sp>
        <p:nvSpPr>
          <p:cNvPr id="7" name="Text Placeholder 15">
            <a:extLst>
              <a:ext uri="{FF2B5EF4-FFF2-40B4-BE49-F238E27FC236}">
                <a16:creationId xmlns:a16="http://schemas.microsoft.com/office/drawing/2014/main" id="{837D880E-36B5-8400-DD9E-CF6B3BA40E04}"/>
              </a:ext>
            </a:extLst>
          </p:cNvPr>
          <p:cNvSpPr>
            <a:spLocks noGrp="1"/>
          </p:cNvSpPr>
          <p:nvPr>
            <p:ph type="body" sz="quarter" idx="13"/>
          </p:nvPr>
        </p:nvSpPr>
        <p:spPr>
          <a:xfrm>
            <a:off x="751596" y="1445935"/>
            <a:ext cx="2573288" cy="292476"/>
          </a:xfrm>
        </p:spPr>
        <p:txBody>
          <a:bodyPr/>
          <a:lstStyle>
            <a:lvl1pPr marL="0" indent="0" algn="ctr">
              <a:buNone/>
              <a:defRPr sz="1400" b="0">
                <a:solidFill>
                  <a:schemeClr val="accent2"/>
                </a:solidFill>
              </a:defRPr>
            </a:lvl1pPr>
            <a:lvl2pPr marL="0" indent="0">
              <a:spcBef>
                <a:spcPts val="300"/>
              </a:spcBef>
              <a:buNone/>
              <a:defRPr sz="1500">
                <a:solidFill>
                  <a:schemeClr val="bg1"/>
                </a:solidFill>
              </a:defRPr>
            </a:lvl2pPr>
            <a:lvl3pPr marL="428625" indent="0">
              <a:buNone/>
              <a:defRPr>
                <a:solidFill>
                  <a:schemeClr val="bg1"/>
                </a:solidFill>
              </a:defRPr>
            </a:lvl3pPr>
            <a:lvl4pPr marL="631825" indent="0">
              <a:buNone/>
              <a:defRPr>
                <a:solidFill>
                  <a:schemeClr val="bg1"/>
                </a:solidFill>
              </a:defRPr>
            </a:lvl4pPr>
            <a:lvl5pPr marL="857250" indent="0">
              <a:buNone/>
              <a:defRPr>
                <a:solidFill>
                  <a:schemeClr val="bg1"/>
                </a:solidFill>
              </a:defRPr>
            </a:lvl5pPr>
          </a:lstStyle>
          <a:p>
            <a:pPr lvl="0"/>
            <a:r>
              <a:rPr lang="en-US"/>
              <a:t>Click to edit Master text styles</a:t>
            </a:r>
          </a:p>
        </p:txBody>
      </p:sp>
      <p:sp>
        <p:nvSpPr>
          <p:cNvPr id="8" name="Footer Placeholder 3">
            <a:extLst>
              <a:ext uri="{FF2B5EF4-FFF2-40B4-BE49-F238E27FC236}">
                <a16:creationId xmlns:a16="http://schemas.microsoft.com/office/drawing/2014/main" id="{ADE301FF-96E2-80C1-D1D6-8354724BB975}"/>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11" name="Slide Number Placeholder 3">
            <a:extLst>
              <a:ext uri="{FF2B5EF4-FFF2-40B4-BE49-F238E27FC236}">
                <a16:creationId xmlns:a16="http://schemas.microsoft.com/office/drawing/2014/main" id="{EF6DF0E0-2F05-AD62-8AA0-CB09BE63BF2E}"/>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Tree>
    <p:extLst>
      <p:ext uri="{BB962C8B-B14F-4D97-AF65-F5344CB8AC3E}">
        <p14:creationId xmlns:p14="http://schemas.microsoft.com/office/powerpoint/2010/main" val="3932327488"/>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4_Blank">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471199D-C9E8-84F6-B6AA-90960AA89671}"/>
              </a:ext>
            </a:extLst>
          </p:cNvPr>
          <p:cNvGrpSpPr>
            <a:grpSpLocks noChangeAspect="1"/>
          </p:cNvGrpSpPr>
          <p:nvPr userDrawn="1"/>
        </p:nvGrpSpPr>
        <p:grpSpPr>
          <a:xfrm>
            <a:off x="10846593" y="6338642"/>
            <a:ext cx="988219" cy="234274"/>
            <a:chOff x="6364288" y="-1019175"/>
            <a:chExt cx="3529013" cy="836613"/>
          </a:xfrm>
        </p:grpSpPr>
        <p:sp>
          <p:nvSpPr>
            <p:cNvPr id="16" name="Freeform 5">
              <a:extLst>
                <a:ext uri="{FF2B5EF4-FFF2-40B4-BE49-F238E27FC236}">
                  <a16:creationId xmlns:a16="http://schemas.microsoft.com/office/drawing/2014/main" id="{6E13DE6B-0085-0816-CCF0-F88BF3A1B243}"/>
                </a:ext>
              </a:extLst>
            </p:cNvPr>
            <p:cNvSpPr>
              <a:spLocks/>
            </p:cNvSpPr>
            <p:nvPr userDrawn="1"/>
          </p:nvSpPr>
          <p:spPr bwMode="auto">
            <a:xfrm>
              <a:off x="6364288" y="-1019175"/>
              <a:ext cx="738188" cy="836613"/>
            </a:xfrm>
            <a:custGeom>
              <a:avLst/>
              <a:gdLst>
                <a:gd name="T0" fmla="*/ 0 w 415"/>
                <a:gd name="T1" fmla="*/ 236 h 469"/>
                <a:gd name="T2" fmla="*/ 0 w 415"/>
                <a:gd name="T3" fmla="*/ 235 h 469"/>
                <a:gd name="T4" fmla="*/ 234 w 415"/>
                <a:gd name="T5" fmla="*/ 0 h 469"/>
                <a:gd name="T6" fmla="*/ 412 w 415"/>
                <a:gd name="T7" fmla="*/ 70 h 469"/>
                <a:gd name="T8" fmla="*/ 361 w 415"/>
                <a:gd name="T9" fmla="*/ 129 h 469"/>
                <a:gd name="T10" fmla="*/ 234 w 415"/>
                <a:gd name="T11" fmla="*/ 73 h 469"/>
                <a:gd name="T12" fmla="*/ 84 w 415"/>
                <a:gd name="T13" fmla="*/ 233 h 469"/>
                <a:gd name="T14" fmla="*/ 84 w 415"/>
                <a:gd name="T15" fmla="*/ 235 h 469"/>
                <a:gd name="T16" fmla="*/ 234 w 415"/>
                <a:gd name="T17" fmla="*/ 395 h 469"/>
                <a:gd name="T18" fmla="*/ 364 w 415"/>
                <a:gd name="T19" fmla="*/ 337 h 469"/>
                <a:gd name="T20" fmla="*/ 415 w 415"/>
                <a:gd name="T21" fmla="*/ 389 h 469"/>
                <a:gd name="T22" fmla="*/ 231 w 415"/>
                <a:gd name="T23" fmla="*/ 469 h 469"/>
                <a:gd name="T24" fmla="*/ 0 w 415"/>
                <a:gd name="T25"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5" h="469">
                  <a:moveTo>
                    <a:pt x="0" y="236"/>
                  </a:moveTo>
                  <a:cubicBezTo>
                    <a:pt x="0" y="235"/>
                    <a:pt x="0" y="235"/>
                    <a:pt x="0" y="235"/>
                  </a:cubicBezTo>
                  <a:cubicBezTo>
                    <a:pt x="0" y="105"/>
                    <a:pt x="97" y="0"/>
                    <a:pt x="234" y="0"/>
                  </a:cubicBezTo>
                  <a:cubicBezTo>
                    <a:pt x="318" y="0"/>
                    <a:pt x="369" y="29"/>
                    <a:pt x="412" y="70"/>
                  </a:cubicBezTo>
                  <a:cubicBezTo>
                    <a:pt x="361" y="129"/>
                    <a:pt x="361" y="129"/>
                    <a:pt x="361" y="129"/>
                  </a:cubicBezTo>
                  <a:cubicBezTo>
                    <a:pt x="325" y="96"/>
                    <a:pt x="286" y="73"/>
                    <a:pt x="234" y="73"/>
                  </a:cubicBezTo>
                  <a:cubicBezTo>
                    <a:pt x="147" y="73"/>
                    <a:pt x="84" y="144"/>
                    <a:pt x="84" y="233"/>
                  </a:cubicBezTo>
                  <a:cubicBezTo>
                    <a:pt x="84" y="235"/>
                    <a:pt x="84" y="235"/>
                    <a:pt x="84" y="235"/>
                  </a:cubicBezTo>
                  <a:cubicBezTo>
                    <a:pt x="84" y="323"/>
                    <a:pt x="147" y="395"/>
                    <a:pt x="234" y="395"/>
                  </a:cubicBezTo>
                  <a:cubicBezTo>
                    <a:pt x="290" y="395"/>
                    <a:pt x="325" y="373"/>
                    <a:pt x="364" y="337"/>
                  </a:cubicBezTo>
                  <a:cubicBezTo>
                    <a:pt x="415" y="389"/>
                    <a:pt x="415" y="389"/>
                    <a:pt x="415" y="389"/>
                  </a:cubicBezTo>
                  <a:cubicBezTo>
                    <a:pt x="368" y="438"/>
                    <a:pt x="316" y="469"/>
                    <a:pt x="231" y="469"/>
                  </a:cubicBezTo>
                  <a:cubicBezTo>
                    <a:pt x="99" y="469"/>
                    <a:pt x="0" y="366"/>
                    <a:pt x="0"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0EBC72A7-B10A-D566-8C1D-9EF52B1C593B}"/>
                </a:ext>
              </a:extLst>
            </p:cNvPr>
            <p:cNvSpPr>
              <a:spLocks/>
            </p:cNvSpPr>
            <p:nvPr userDrawn="1"/>
          </p:nvSpPr>
          <p:spPr bwMode="auto">
            <a:xfrm>
              <a:off x="8983663" y="-1006475"/>
              <a:ext cx="669925" cy="811213"/>
            </a:xfrm>
            <a:custGeom>
              <a:avLst/>
              <a:gdLst>
                <a:gd name="T0" fmla="*/ 0 w 422"/>
                <a:gd name="T1" fmla="*/ 0 h 511"/>
                <a:gd name="T2" fmla="*/ 89 w 422"/>
                <a:gd name="T3" fmla="*/ 0 h 511"/>
                <a:gd name="T4" fmla="*/ 89 w 422"/>
                <a:gd name="T5" fmla="*/ 212 h 511"/>
                <a:gd name="T6" fmla="*/ 332 w 422"/>
                <a:gd name="T7" fmla="*/ 212 h 511"/>
                <a:gd name="T8" fmla="*/ 332 w 422"/>
                <a:gd name="T9" fmla="*/ 0 h 511"/>
                <a:gd name="T10" fmla="*/ 422 w 422"/>
                <a:gd name="T11" fmla="*/ 0 h 511"/>
                <a:gd name="T12" fmla="*/ 422 w 422"/>
                <a:gd name="T13" fmla="*/ 511 h 511"/>
                <a:gd name="T14" fmla="*/ 332 w 422"/>
                <a:gd name="T15" fmla="*/ 511 h 511"/>
                <a:gd name="T16" fmla="*/ 332 w 422"/>
                <a:gd name="T17" fmla="*/ 295 h 511"/>
                <a:gd name="T18" fmla="*/ 89 w 422"/>
                <a:gd name="T19" fmla="*/ 295 h 511"/>
                <a:gd name="T20" fmla="*/ 89 w 422"/>
                <a:gd name="T21" fmla="*/ 511 h 511"/>
                <a:gd name="T22" fmla="*/ 0 w 422"/>
                <a:gd name="T23" fmla="*/ 511 h 511"/>
                <a:gd name="T24" fmla="*/ 0 w 422"/>
                <a:gd name="T25"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2" h="511">
                  <a:moveTo>
                    <a:pt x="0" y="0"/>
                  </a:moveTo>
                  <a:lnTo>
                    <a:pt x="89" y="0"/>
                  </a:lnTo>
                  <a:lnTo>
                    <a:pt x="89" y="212"/>
                  </a:lnTo>
                  <a:lnTo>
                    <a:pt x="332" y="212"/>
                  </a:lnTo>
                  <a:lnTo>
                    <a:pt x="332" y="0"/>
                  </a:lnTo>
                  <a:lnTo>
                    <a:pt x="422" y="0"/>
                  </a:lnTo>
                  <a:lnTo>
                    <a:pt x="422" y="511"/>
                  </a:lnTo>
                  <a:lnTo>
                    <a:pt x="332" y="511"/>
                  </a:lnTo>
                  <a:lnTo>
                    <a:pt x="332" y="295"/>
                  </a:lnTo>
                  <a:lnTo>
                    <a:pt x="89" y="295"/>
                  </a:lnTo>
                  <a:lnTo>
                    <a:pt x="89" y="511"/>
                  </a:lnTo>
                  <a:lnTo>
                    <a:pt x="0" y="511"/>
                  </a:lnTo>
                  <a:lnTo>
                    <a:pt x="0" y="0"/>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D0370B63-4893-19B6-0BE6-721540E5B104}"/>
                </a:ext>
              </a:extLst>
            </p:cNvPr>
            <p:cNvSpPr>
              <a:spLocks noEditPoints="1"/>
            </p:cNvSpPr>
            <p:nvPr userDrawn="1"/>
          </p:nvSpPr>
          <p:spPr bwMode="auto">
            <a:xfrm>
              <a:off x="7974013" y="-1019175"/>
              <a:ext cx="846138" cy="836613"/>
            </a:xfrm>
            <a:custGeom>
              <a:avLst/>
              <a:gdLst>
                <a:gd name="T0" fmla="*/ 0 w 475"/>
                <a:gd name="T1" fmla="*/ 236 h 469"/>
                <a:gd name="T2" fmla="*/ 0 w 475"/>
                <a:gd name="T3" fmla="*/ 235 h 469"/>
                <a:gd name="T4" fmla="*/ 238 w 475"/>
                <a:gd name="T5" fmla="*/ 0 h 469"/>
                <a:gd name="T6" fmla="*/ 475 w 475"/>
                <a:gd name="T7" fmla="*/ 233 h 469"/>
                <a:gd name="T8" fmla="*/ 475 w 475"/>
                <a:gd name="T9" fmla="*/ 235 h 469"/>
                <a:gd name="T10" fmla="*/ 237 w 475"/>
                <a:gd name="T11" fmla="*/ 469 h 469"/>
                <a:gd name="T12" fmla="*/ 0 w 475"/>
                <a:gd name="T13" fmla="*/ 236 h 469"/>
                <a:gd name="T14" fmla="*/ 391 w 475"/>
                <a:gd name="T15" fmla="*/ 236 h 469"/>
                <a:gd name="T16" fmla="*/ 391 w 475"/>
                <a:gd name="T17" fmla="*/ 235 h 469"/>
                <a:gd name="T18" fmla="*/ 237 w 475"/>
                <a:gd name="T19" fmla="*/ 73 h 469"/>
                <a:gd name="T20" fmla="*/ 84 w 475"/>
                <a:gd name="T21" fmla="*/ 233 h 469"/>
                <a:gd name="T22" fmla="*/ 84 w 475"/>
                <a:gd name="T23" fmla="*/ 235 h 469"/>
                <a:gd name="T24" fmla="*/ 238 w 475"/>
                <a:gd name="T25" fmla="*/ 395 h 469"/>
                <a:gd name="T26" fmla="*/ 391 w 475"/>
                <a:gd name="T27"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5" h="469">
                  <a:moveTo>
                    <a:pt x="0" y="236"/>
                  </a:moveTo>
                  <a:cubicBezTo>
                    <a:pt x="0" y="235"/>
                    <a:pt x="0" y="235"/>
                    <a:pt x="0" y="235"/>
                  </a:cubicBezTo>
                  <a:cubicBezTo>
                    <a:pt x="0" y="107"/>
                    <a:pt x="99" y="0"/>
                    <a:pt x="238" y="0"/>
                  </a:cubicBezTo>
                  <a:cubicBezTo>
                    <a:pt x="378" y="0"/>
                    <a:pt x="475" y="105"/>
                    <a:pt x="475" y="233"/>
                  </a:cubicBezTo>
                  <a:cubicBezTo>
                    <a:pt x="475" y="235"/>
                    <a:pt x="475" y="235"/>
                    <a:pt x="475" y="235"/>
                  </a:cubicBezTo>
                  <a:cubicBezTo>
                    <a:pt x="475" y="362"/>
                    <a:pt x="376" y="469"/>
                    <a:pt x="237" y="469"/>
                  </a:cubicBezTo>
                  <a:cubicBezTo>
                    <a:pt x="97" y="469"/>
                    <a:pt x="0" y="364"/>
                    <a:pt x="0" y="236"/>
                  </a:cubicBezTo>
                  <a:close/>
                  <a:moveTo>
                    <a:pt x="391" y="236"/>
                  </a:moveTo>
                  <a:cubicBezTo>
                    <a:pt x="391" y="235"/>
                    <a:pt x="391" y="235"/>
                    <a:pt x="391" y="235"/>
                  </a:cubicBezTo>
                  <a:cubicBezTo>
                    <a:pt x="391" y="146"/>
                    <a:pt x="327" y="73"/>
                    <a:pt x="237" y="73"/>
                  </a:cubicBezTo>
                  <a:cubicBezTo>
                    <a:pt x="147" y="73"/>
                    <a:pt x="84" y="145"/>
                    <a:pt x="84" y="233"/>
                  </a:cubicBezTo>
                  <a:cubicBezTo>
                    <a:pt x="84" y="235"/>
                    <a:pt x="84" y="235"/>
                    <a:pt x="84" y="235"/>
                  </a:cubicBezTo>
                  <a:cubicBezTo>
                    <a:pt x="84" y="323"/>
                    <a:pt x="148" y="395"/>
                    <a:pt x="238" y="395"/>
                  </a:cubicBezTo>
                  <a:cubicBezTo>
                    <a:pt x="328" y="395"/>
                    <a:pt x="391" y="324"/>
                    <a:pt x="391"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9" name="Picture 8">
              <a:extLst>
                <a:ext uri="{FF2B5EF4-FFF2-40B4-BE49-F238E27FC236}">
                  <a16:creationId xmlns:a16="http://schemas.microsoft.com/office/drawing/2014/main" id="{CA3523C3-EFAB-C152-1E8A-B4C146B7F5F9}"/>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94538" y="-1012825"/>
              <a:ext cx="1804988"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Freeform 9">
              <a:extLst>
                <a:ext uri="{FF2B5EF4-FFF2-40B4-BE49-F238E27FC236}">
                  <a16:creationId xmlns:a16="http://schemas.microsoft.com/office/drawing/2014/main" id="{E5A756AC-DF0A-340A-5BF1-BF2B0FCE6EA8}"/>
                </a:ext>
              </a:extLst>
            </p:cNvPr>
            <p:cNvSpPr>
              <a:spLocks/>
            </p:cNvSpPr>
            <p:nvPr userDrawn="1"/>
          </p:nvSpPr>
          <p:spPr bwMode="auto">
            <a:xfrm>
              <a:off x="9807576" y="-279400"/>
              <a:ext cx="85725" cy="84138"/>
            </a:xfrm>
            <a:custGeom>
              <a:avLst/>
              <a:gdLst>
                <a:gd name="T0" fmla="*/ 7 w 54"/>
                <a:gd name="T1" fmla="*/ 13 h 53"/>
                <a:gd name="T2" fmla="*/ 7 w 54"/>
                <a:gd name="T3" fmla="*/ 53 h 53"/>
                <a:gd name="T4" fmla="*/ 0 w 54"/>
                <a:gd name="T5" fmla="*/ 53 h 53"/>
                <a:gd name="T6" fmla="*/ 0 w 54"/>
                <a:gd name="T7" fmla="*/ 0 h 53"/>
                <a:gd name="T8" fmla="*/ 8 w 54"/>
                <a:gd name="T9" fmla="*/ 0 h 53"/>
                <a:gd name="T10" fmla="*/ 27 w 54"/>
                <a:gd name="T11" fmla="*/ 31 h 53"/>
                <a:gd name="T12" fmla="*/ 46 w 54"/>
                <a:gd name="T13" fmla="*/ 0 h 53"/>
                <a:gd name="T14" fmla="*/ 54 w 54"/>
                <a:gd name="T15" fmla="*/ 0 h 53"/>
                <a:gd name="T16" fmla="*/ 54 w 54"/>
                <a:gd name="T17" fmla="*/ 53 h 53"/>
                <a:gd name="T18" fmla="*/ 46 w 54"/>
                <a:gd name="T19" fmla="*/ 53 h 53"/>
                <a:gd name="T20" fmla="*/ 46 w 54"/>
                <a:gd name="T21" fmla="*/ 13 h 53"/>
                <a:gd name="T22" fmla="*/ 27 w 54"/>
                <a:gd name="T23" fmla="*/ 43 h 53"/>
                <a:gd name="T24" fmla="*/ 7 w 54"/>
                <a:gd name="T25"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7" y="13"/>
                  </a:moveTo>
                  <a:lnTo>
                    <a:pt x="7" y="53"/>
                  </a:lnTo>
                  <a:lnTo>
                    <a:pt x="0" y="53"/>
                  </a:lnTo>
                  <a:lnTo>
                    <a:pt x="0" y="0"/>
                  </a:lnTo>
                  <a:lnTo>
                    <a:pt x="8" y="0"/>
                  </a:lnTo>
                  <a:lnTo>
                    <a:pt x="27" y="31"/>
                  </a:lnTo>
                  <a:lnTo>
                    <a:pt x="46" y="0"/>
                  </a:lnTo>
                  <a:lnTo>
                    <a:pt x="54" y="0"/>
                  </a:lnTo>
                  <a:lnTo>
                    <a:pt x="54" y="53"/>
                  </a:lnTo>
                  <a:lnTo>
                    <a:pt x="46" y="53"/>
                  </a:lnTo>
                  <a:lnTo>
                    <a:pt x="46" y="13"/>
                  </a:lnTo>
                  <a:lnTo>
                    <a:pt x="27" y="43"/>
                  </a:lnTo>
                  <a:lnTo>
                    <a:pt x="7"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a:extLst>
                <a:ext uri="{FF2B5EF4-FFF2-40B4-BE49-F238E27FC236}">
                  <a16:creationId xmlns:a16="http://schemas.microsoft.com/office/drawing/2014/main" id="{D2626143-0B88-A836-1841-4DBA927A16B0}"/>
                </a:ext>
              </a:extLst>
            </p:cNvPr>
            <p:cNvSpPr>
              <a:spLocks/>
            </p:cNvSpPr>
            <p:nvPr userDrawn="1"/>
          </p:nvSpPr>
          <p:spPr bwMode="auto">
            <a:xfrm>
              <a:off x="9729788" y="-282575"/>
              <a:ext cx="63500" cy="93663"/>
            </a:xfrm>
            <a:custGeom>
              <a:avLst/>
              <a:gdLst>
                <a:gd name="T0" fmla="*/ 29 w 36"/>
                <a:gd name="T1" fmla="*/ 13 h 52"/>
                <a:gd name="T2" fmla="*/ 24 w 36"/>
                <a:gd name="T3" fmla="*/ 9 h 52"/>
                <a:gd name="T4" fmla="*/ 10 w 36"/>
                <a:gd name="T5" fmla="*/ 9 h 52"/>
                <a:gd name="T6" fmla="*/ 10 w 36"/>
                <a:gd name="T7" fmla="*/ 18 h 52"/>
                <a:gd name="T8" fmla="*/ 15 w 36"/>
                <a:gd name="T9" fmla="*/ 20 h 52"/>
                <a:gd name="T10" fmla="*/ 27 w 36"/>
                <a:gd name="T11" fmla="*/ 25 h 52"/>
                <a:gd name="T12" fmla="*/ 32 w 36"/>
                <a:gd name="T13" fmla="*/ 29 h 52"/>
                <a:gd name="T14" fmla="*/ 30 w 36"/>
                <a:gd name="T15" fmla="*/ 46 h 52"/>
                <a:gd name="T16" fmla="*/ 0 w 36"/>
                <a:gd name="T17" fmla="*/ 42 h 52"/>
                <a:gd name="T18" fmla="*/ 4 w 36"/>
                <a:gd name="T19" fmla="*/ 37 h 52"/>
                <a:gd name="T20" fmla="*/ 25 w 36"/>
                <a:gd name="T21" fmla="*/ 41 h 52"/>
                <a:gd name="T22" fmla="*/ 24 w 36"/>
                <a:gd name="T23" fmla="*/ 31 h 52"/>
                <a:gd name="T24" fmla="*/ 18 w 36"/>
                <a:gd name="T25" fmla="*/ 28 h 52"/>
                <a:gd name="T26" fmla="*/ 4 w 36"/>
                <a:gd name="T27" fmla="*/ 21 h 52"/>
                <a:gd name="T28" fmla="*/ 6 w 36"/>
                <a:gd name="T29" fmla="*/ 5 h 52"/>
                <a:gd name="T30" fmla="*/ 27 w 36"/>
                <a:gd name="T31" fmla="*/ 3 h 52"/>
                <a:gd name="T32" fmla="*/ 33 w 36"/>
                <a:gd name="T33" fmla="*/ 8 h 52"/>
                <a:gd name="T34" fmla="*/ 29 w 36"/>
                <a:gd name="T35" fmla="*/ 1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52">
                  <a:moveTo>
                    <a:pt x="29" y="13"/>
                  </a:moveTo>
                  <a:cubicBezTo>
                    <a:pt x="28" y="11"/>
                    <a:pt x="26" y="10"/>
                    <a:pt x="24" y="9"/>
                  </a:cubicBezTo>
                  <a:cubicBezTo>
                    <a:pt x="20" y="7"/>
                    <a:pt x="14" y="7"/>
                    <a:pt x="10" y="9"/>
                  </a:cubicBezTo>
                  <a:cubicBezTo>
                    <a:pt x="7" y="11"/>
                    <a:pt x="7" y="16"/>
                    <a:pt x="10" y="18"/>
                  </a:cubicBezTo>
                  <a:cubicBezTo>
                    <a:pt x="11" y="19"/>
                    <a:pt x="13" y="20"/>
                    <a:pt x="15" y="20"/>
                  </a:cubicBezTo>
                  <a:cubicBezTo>
                    <a:pt x="19" y="22"/>
                    <a:pt x="24" y="23"/>
                    <a:pt x="27" y="25"/>
                  </a:cubicBezTo>
                  <a:cubicBezTo>
                    <a:pt x="29" y="26"/>
                    <a:pt x="31" y="27"/>
                    <a:pt x="32" y="29"/>
                  </a:cubicBezTo>
                  <a:cubicBezTo>
                    <a:pt x="36" y="34"/>
                    <a:pt x="34" y="42"/>
                    <a:pt x="30" y="46"/>
                  </a:cubicBezTo>
                  <a:cubicBezTo>
                    <a:pt x="22" y="52"/>
                    <a:pt x="5" y="50"/>
                    <a:pt x="0" y="42"/>
                  </a:cubicBezTo>
                  <a:cubicBezTo>
                    <a:pt x="4" y="37"/>
                    <a:pt x="4" y="37"/>
                    <a:pt x="4" y="37"/>
                  </a:cubicBezTo>
                  <a:cubicBezTo>
                    <a:pt x="8" y="43"/>
                    <a:pt x="19" y="45"/>
                    <a:pt x="25" y="41"/>
                  </a:cubicBezTo>
                  <a:cubicBezTo>
                    <a:pt x="28" y="39"/>
                    <a:pt x="28" y="34"/>
                    <a:pt x="24" y="31"/>
                  </a:cubicBezTo>
                  <a:cubicBezTo>
                    <a:pt x="23" y="30"/>
                    <a:pt x="20" y="29"/>
                    <a:pt x="18" y="28"/>
                  </a:cubicBezTo>
                  <a:cubicBezTo>
                    <a:pt x="13" y="26"/>
                    <a:pt x="7" y="25"/>
                    <a:pt x="4" y="21"/>
                  </a:cubicBezTo>
                  <a:cubicBezTo>
                    <a:pt x="0" y="17"/>
                    <a:pt x="0" y="8"/>
                    <a:pt x="6" y="5"/>
                  </a:cubicBezTo>
                  <a:cubicBezTo>
                    <a:pt x="11" y="1"/>
                    <a:pt x="21" y="0"/>
                    <a:pt x="27" y="3"/>
                  </a:cubicBezTo>
                  <a:cubicBezTo>
                    <a:pt x="30" y="5"/>
                    <a:pt x="32" y="6"/>
                    <a:pt x="33" y="8"/>
                  </a:cubicBezTo>
                  <a:lnTo>
                    <a:pt x="29"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Footer Placeholder 3">
            <a:extLst>
              <a:ext uri="{FF2B5EF4-FFF2-40B4-BE49-F238E27FC236}">
                <a16:creationId xmlns:a16="http://schemas.microsoft.com/office/drawing/2014/main" id="{901CE41F-0E56-BCD6-739B-DE56876A7B54}"/>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lumMod val="65000"/>
                  </a:schemeClr>
                </a:solidFill>
              </a:rPr>
              <a:t>© 2024 CAQH, All Rights Reserved. Confidential and Proprietary.</a:t>
            </a:r>
          </a:p>
        </p:txBody>
      </p:sp>
      <p:sp>
        <p:nvSpPr>
          <p:cNvPr id="4" name="Slide Number Placeholder 3">
            <a:extLst>
              <a:ext uri="{FF2B5EF4-FFF2-40B4-BE49-F238E27FC236}">
                <a16:creationId xmlns:a16="http://schemas.microsoft.com/office/drawing/2014/main" id="{BE445AC9-A188-EB8D-EE86-792F097A7F8C}"/>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lumMod val="65000"/>
                  </a:schemeClr>
                </a:solidFill>
              </a:rPr>
              <a:pPr lvl="0"/>
              <a:t>‹#›</a:t>
            </a:fld>
            <a:endParaRPr lang="en-US" sz="700">
              <a:solidFill>
                <a:schemeClr val="bg1">
                  <a:lumMod val="65000"/>
                </a:schemeClr>
              </a:solidFill>
            </a:endParaRPr>
          </a:p>
        </p:txBody>
      </p:sp>
    </p:spTree>
    <p:extLst>
      <p:ext uri="{BB962C8B-B14F-4D97-AF65-F5344CB8AC3E}">
        <p14:creationId xmlns:p14="http://schemas.microsoft.com/office/powerpoint/2010/main" val="39352381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Purple-Dark-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8EAB0C-27CE-02CD-A064-021FDE75AE83}"/>
              </a:ext>
            </a:extLst>
          </p:cNvPr>
          <p:cNvSpPr/>
          <p:nvPr userDrawn="1"/>
        </p:nvSpPr>
        <p:spPr>
          <a:xfrm>
            <a:off x="0" y="0"/>
            <a:ext cx="12192000" cy="6866593"/>
          </a:xfrm>
          <a:prstGeom prst="rect">
            <a:avLst/>
          </a:prstGeom>
          <a:gradFill flip="none" rotWithShape="1">
            <a:gsLst>
              <a:gs pos="64000">
                <a:srgbClr val="4A5BB6"/>
              </a:gs>
              <a:gs pos="1100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ext Placeholder 2">
            <a:extLst>
              <a:ext uri="{FF2B5EF4-FFF2-40B4-BE49-F238E27FC236}">
                <a16:creationId xmlns:a16="http://schemas.microsoft.com/office/drawing/2014/main" id="{FFDD4313-8AE9-D6CC-F2F4-ED88768E65BB}"/>
              </a:ext>
            </a:extLst>
          </p:cNvPr>
          <p:cNvSpPr>
            <a:spLocks noGrp="1"/>
          </p:cNvSpPr>
          <p:nvPr>
            <p:ph type="body" sz="quarter" idx="16" hasCustomPrompt="1"/>
          </p:nvPr>
        </p:nvSpPr>
        <p:spPr>
          <a:xfrm>
            <a:off x="744682" y="182401"/>
            <a:ext cx="10625921" cy="450850"/>
          </a:xfrm>
          <a:prstGeom prst="rect">
            <a:avLst/>
          </a:prstGeom>
          <a:noFill/>
        </p:spPr>
        <p:txBody>
          <a:bodyPr vert="horz" wrap="square" lIns="0" tIns="0" rIns="0" bIns="0" rtlCol="0" anchor="b">
            <a:noAutofit/>
          </a:bodyPr>
          <a:lstStyle>
            <a:lvl1pPr algn="ctr">
              <a:defRPr lang="en-US" sz="1200" b="1" spc="375" dirty="0">
                <a:solidFill>
                  <a:srgbClr val="8291FF"/>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buNone/>
            </a:pPr>
            <a:r>
              <a:rPr lang="en-US"/>
              <a:t>EYEBROW ABOVE HEADLINE</a:t>
            </a:r>
          </a:p>
        </p:txBody>
      </p:sp>
      <p:sp>
        <p:nvSpPr>
          <p:cNvPr id="4" name="Title 1">
            <a:extLst>
              <a:ext uri="{FF2B5EF4-FFF2-40B4-BE49-F238E27FC236}">
                <a16:creationId xmlns:a16="http://schemas.microsoft.com/office/drawing/2014/main" id="{7FD0AD07-2189-6C07-50E2-6A7D661130E6}"/>
              </a:ext>
            </a:extLst>
          </p:cNvPr>
          <p:cNvSpPr>
            <a:spLocks noGrp="1"/>
          </p:cNvSpPr>
          <p:nvPr>
            <p:ph type="title" hasCustomPrompt="1"/>
          </p:nvPr>
        </p:nvSpPr>
        <p:spPr>
          <a:xfrm>
            <a:off x="752437" y="726914"/>
            <a:ext cx="10625921" cy="852627"/>
          </a:xfrm>
          <a:prstGeom prst="rect">
            <a:avLst/>
          </a:prstGeom>
        </p:spPr>
        <p:txBody>
          <a:bodyPr lIns="0" tIns="0" rIns="0" bIns="0" anchor="t"/>
          <a:lstStyle>
            <a:lvl1pPr algn="ctr">
              <a:defRPr lang="en-US" sz="3200" dirty="0">
                <a:solidFill>
                  <a:schemeClr val="bg1"/>
                </a:solidFill>
              </a:defRPr>
            </a:lvl1pPr>
          </a:lstStyle>
          <a:p>
            <a:pPr lvl="0"/>
            <a:r>
              <a:rPr lang="en-US"/>
              <a:t>Type Brief Title Here with Eyebrow if Needed</a:t>
            </a:r>
          </a:p>
        </p:txBody>
      </p:sp>
      <p:sp>
        <p:nvSpPr>
          <p:cNvPr id="5" name="Freeform 9">
            <a:extLst>
              <a:ext uri="{FF2B5EF4-FFF2-40B4-BE49-F238E27FC236}">
                <a16:creationId xmlns:a16="http://schemas.microsoft.com/office/drawing/2014/main" id="{BAE23025-282D-B0EE-C580-04FE1755D991}"/>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BE0EE2CD-0124-4586-0FF1-F11737B869A0}"/>
              </a:ext>
            </a:extLst>
          </p:cNvPr>
          <p:cNvPicPr>
            <a:picLocks noChangeAspect="1"/>
          </p:cNvPicPr>
          <p:nvPr userDrawn="1"/>
        </p:nvPicPr>
        <p:blipFill rotWithShape="1">
          <a:blip r:embed="rId2">
            <a:lum bright="70000" contrast="-70000"/>
            <a:alphaModFix amt="27000"/>
            <a:extLst>
              <a:ext uri="{28A0092B-C50C-407E-A947-70E740481C1C}">
                <a14:useLocalDpi xmlns:a14="http://schemas.microsoft.com/office/drawing/2010/main" val="0"/>
              </a:ext>
            </a:extLst>
          </a:blip>
          <a:srcRect l="49498" t="32384" r="1" b="26678"/>
          <a:stretch/>
        </p:blipFill>
        <p:spPr>
          <a:xfrm rot="773100" flipH="1">
            <a:off x="-950784" y="1678750"/>
            <a:ext cx="13434499" cy="7259969"/>
          </a:xfrm>
          <a:prstGeom prst="rect">
            <a:avLst/>
          </a:prstGeom>
        </p:spPr>
      </p:pic>
      <p:sp>
        <p:nvSpPr>
          <p:cNvPr id="15" name="Footer Placeholder 3">
            <a:extLst>
              <a:ext uri="{FF2B5EF4-FFF2-40B4-BE49-F238E27FC236}">
                <a16:creationId xmlns:a16="http://schemas.microsoft.com/office/drawing/2014/main" id="{ABF0F452-D24D-1804-EDF9-5AEFD6B3F68F}"/>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16" name="Slide Number Placeholder 3">
            <a:extLst>
              <a:ext uri="{FF2B5EF4-FFF2-40B4-BE49-F238E27FC236}">
                <a16:creationId xmlns:a16="http://schemas.microsoft.com/office/drawing/2014/main" id="{241717AF-C5E0-E9AE-23B8-60F9405DAB4E}"/>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Tree>
    <p:extLst>
      <p:ext uri="{BB962C8B-B14F-4D97-AF65-F5344CB8AC3E}">
        <p14:creationId xmlns:p14="http://schemas.microsoft.com/office/powerpoint/2010/main" val="1701100101"/>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0846592" y="6338646"/>
            <a:ext cx="206717" cy="234264"/>
          </a:xfrm>
          <a:prstGeom prst="rect">
            <a:avLst/>
          </a:prstGeom>
        </p:spPr>
      </p:pic>
      <p:sp>
        <p:nvSpPr>
          <p:cNvPr id="17" name="bg object 17"/>
          <p:cNvSpPr/>
          <p:nvPr/>
        </p:nvSpPr>
        <p:spPr>
          <a:xfrm>
            <a:off x="11580088" y="6473008"/>
            <a:ext cx="40005" cy="96520"/>
          </a:xfrm>
          <a:custGeom>
            <a:avLst/>
            <a:gdLst/>
            <a:ahLst/>
            <a:cxnLst/>
            <a:rect l="l" t="t" r="r" b="b"/>
            <a:pathLst>
              <a:path w="40004" h="96520">
                <a:moveTo>
                  <a:pt x="0" y="96520"/>
                </a:moveTo>
                <a:lnTo>
                  <a:pt x="39560" y="96520"/>
                </a:lnTo>
                <a:lnTo>
                  <a:pt x="39560" y="0"/>
                </a:lnTo>
                <a:lnTo>
                  <a:pt x="0" y="0"/>
                </a:lnTo>
                <a:lnTo>
                  <a:pt x="0" y="96520"/>
                </a:lnTo>
                <a:close/>
              </a:path>
            </a:pathLst>
          </a:custGeom>
          <a:solidFill>
            <a:srgbClr val="005091"/>
          </a:solidFill>
        </p:spPr>
        <p:txBody>
          <a:bodyPr wrap="square" lIns="0" tIns="0" rIns="0" bIns="0" rtlCol="0"/>
          <a:lstStyle/>
          <a:p>
            <a:endParaRPr/>
          </a:p>
        </p:txBody>
      </p:sp>
      <p:sp>
        <p:nvSpPr>
          <p:cNvPr id="18" name="bg object 18"/>
          <p:cNvSpPr/>
          <p:nvPr/>
        </p:nvSpPr>
        <p:spPr>
          <a:xfrm>
            <a:off x="11580089" y="6342202"/>
            <a:ext cx="187960" cy="227329"/>
          </a:xfrm>
          <a:custGeom>
            <a:avLst/>
            <a:gdLst/>
            <a:ahLst/>
            <a:cxnLst/>
            <a:rect l="l" t="t" r="r" b="b"/>
            <a:pathLst>
              <a:path w="187959" h="227329">
                <a:moveTo>
                  <a:pt x="187591" y="0"/>
                </a:moveTo>
                <a:lnTo>
                  <a:pt x="147586" y="0"/>
                </a:lnTo>
                <a:lnTo>
                  <a:pt x="147586" y="93980"/>
                </a:lnTo>
                <a:lnTo>
                  <a:pt x="39560" y="93980"/>
                </a:lnTo>
                <a:lnTo>
                  <a:pt x="39560" y="0"/>
                </a:lnTo>
                <a:lnTo>
                  <a:pt x="0" y="0"/>
                </a:lnTo>
                <a:lnTo>
                  <a:pt x="0" y="93980"/>
                </a:lnTo>
                <a:lnTo>
                  <a:pt x="0" y="130810"/>
                </a:lnTo>
                <a:lnTo>
                  <a:pt x="147586" y="130810"/>
                </a:lnTo>
                <a:lnTo>
                  <a:pt x="147586" y="227330"/>
                </a:lnTo>
                <a:lnTo>
                  <a:pt x="187591" y="227330"/>
                </a:lnTo>
                <a:lnTo>
                  <a:pt x="187591" y="130810"/>
                </a:lnTo>
                <a:lnTo>
                  <a:pt x="187591" y="93980"/>
                </a:lnTo>
                <a:lnTo>
                  <a:pt x="187591" y="0"/>
                </a:lnTo>
                <a:close/>
              </a:path>
            </a:pathLst>
          </a:custGeom>
          <a:solidFill>
            <a:srgbClr val="005091"/>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11051083" y="6338646"/>
            <a:ext cx="505444" cy="234264"/>
          </a:xfrm>
          <a:prstGeom prst="rect">
            <a:avLst/>
          </a:prstGeom>
        </p:spPr>
      </p:pic>
      <p:sp>
        <p:nvSpPr>
          <p:cNvPr id="20" name="bg object 20"/>
          <p:cNvSpPr/>
          <p:nvPr/>
        </p:nvSpPr>
        <p:spPr>
          <a:xfrm>
            <a:off x="11789016" y="6544919"/>
            <a:ext cx="46355" cy="26670"/>
          </a:xfrm>
          <a:custGeom>
            <a:avLst/>
            <a:gdLst/>
            <a:ahLst/>
            <a:cxnLst/>
            <a:rect l="l" t="t" r="r" b="b"/>
            <a:pathLst>
              <a:path w="46354" h="26670">
                <a:moveTo>
                  <a:pt x="17780" y="17145"/>
                </a:moveTo>
                <a:lnTo>
                  <a:pt x="15811" y="14617"/>
                </a:lnTo>
                <a:lnTo>
                  <a:pt x="15316" y="13614"/>
                </a:lnTo>
                <a:lnTo>
                  <a:pt x="13335" y="12611"/>
                </a:lnTo>
                <a:lnTo>
                  <a:pt x="11849" y="11595"/>
                </a:lnTo>
                <a:lnTo>
                  <a:pt x="9385" y="11087"/>
                </a:lnTo>
                <a:lnTo>
                  <a:pt x="7404" y="10083"/>
                </a:lnTo>
                <a:lnTo>
                  <a:pt x="6426" y="10083"/>
                </a:lnTo>
                <a:lnTo>
                  <a:pt x="5435" y="9575"/>
                </a:lnTo>
                <a:lnTo>
                  <a:pt x="4940" y="9080"/>
                </a:lnTo>
                <a:lnTo>
                  <a:pt x="3454" y="8064"/>
                </a:lnTo>
                <a:lnTo>
                  <a:pt x="3454" y="5549"/>
                </a:lnTo>
                <a:lnTo>
                  <a:pt x="4940" y="4533"/>
                </a:lnTo>
                <a:lnTo>
                  <a:pt x="6921" y="3530"/>
                </a:lnTo>
                <a:lnTo>
                  <a:pt x="9880" y="3530"/>
                </a:lnTo>
                <a:lnTo>
                  <a:pt x="13830" y="5549"/>
                </a:lnTo>
                <a:lnTo>
                  <a:pt x="14325" y="6553"/>
                </a:lnTo>
                <a:lnTo>
                  <a:pt x="16306" y="4025"/>
                </a:lnTo>
                <a:lnTo>
                  <a:pt x="15811" y="3022"/>
                </a:lnTo>
                <a:lnTo>
                  <a:pt x="14820" y="2514"/>
                </a:lnTo>
                <a:lnTo>
                  <a:pt x="13335" y="1511"/>
                </a:lnTo>
                <a:lnTo>
                  <a:pt x="10375" y="0"/>
                </a:lnTo>
                <a:lnTo>
                  <a:pt x="5435" y="495"/>
                </a:lnTo>
                <a:lnTo>
                  <a:pt x="2959" y="2514"/>
                </a:lnTo>
                <a:lnTo>
                  <a:pt x="0" y="4025"/>
                </a:lnTo>
                <a:lnTo>
                  <a:pt x="0" y="8572"/>
                </a:lnTo>
                <a:lnTo>
                  <a:pt x="1981" y="10591"/>
                </a:lnTo>
                <a:lnTo>
                  <a:pt x="3454" y="12611"/>
                </a:lnTo>
                <a:lnTo>
                  <a:pt x="6426" y="13106"/>
                </a:lnTo>
                <a:lnTo>
                  <a:pt x="8890" y="14122"/>
                </a:lnTo>
                <a:lnTo>
                  <a:pt x="9880" y="14617"/>
                </a:lnTo>
                <a:lnTo>
                  <a:pt x="11366" y="15125"/>
                </a:lnTo>
                <a:lnTo>
                  <a:pt x="11849" y="15633"/>
                </a:lnTo>
                <a:lnTo>
                  <a:pt x="13830" y="17145"/>
                </a:lnTo>
                <a:lnTo>
                  <a:pt x="13830" y="19672"/>
                </a:lnTo>
                <a:lnTo>
                  <a:pt x="9385" y="22694"/>
                </a:lnTo>
                <a:lnTo>
                  <a:pt x="3949" y="21678"/>
                </a:lnTo>
                <a:lnTo>
                  <a:pt x="1981" y="18656"/>
                </a:lnTo>
                <a:lnTo>
                  <a:pt x="0" y="21183"/>
                </a:lnTo>
                <a:lnTo>
                  <a:pt x="2476" y="25209"/>
                </a:lnTo>
                <a:lnTo>
                  <a:pt x="10871" y="26225"/>
                </a:lnTo>
                <a:lnTo>
                  <a:pt x="14820" y="23202"/>
                </a:lnTo>
                <a:lnTo>
                  <a:pt x="16789" y="21183"/>
                </a:lnTo>
                <a:lnTo>
                  <a:pt x="17780" y="17145"/>
                </a:lnTo>
                <a:close/>
              </a:path>
              <a:path w="46354" h="26670">
                <a:moveTo>
                  <a:pt x="45783" y="889"/>
                </a:moveTo>
                <a:lnTo>
                  <a:pt x="42227" y="889"/>
                </a:lnTo>
                <a:lnTo>
                  <a:pt x="33782" y="14668"/>
                </a:lnTo>
                <a:lnTo>
                  <a:pt x="25336" y="889"/>
                </a:lnTo>
                <a:lnTo>
                  <a:pt x="21780" y="889"/>
                </a:lnTo>
                <a:lnTo>
                  <a:pt x="21780" y="24447"/>
                </a:lnTo>
                <a:lnTo>
                  <a:pt x="24892" y="24447"/>
                </a:lnTo>
                <a:lnTo>
                  <a:pt x="24892" y="6667"/>
                </a:lnTo>
                <a:lnTo>
                  <a:pt x="33782" y="20002"/>
                </a:lnTo>
                <a:lnTo>
                  <a:pt x="42227" y="6667"/>
                </a:lnTo>
                <a:lnTo>
                  <a:pt x="42227" y="24447"/>
                </a:lnTo>
                <a:lnTo>
                  <a:pt x="45783" y="24447"/>
                </a:lnTo>
                <a:lnTo>
                  <a:pt x="45783" y="889"/>
                </a:lnTo>
                <a:close/>
              </a:path>
            </a:pathLst>
          </a:custGeom>
          <a:solidFill>
            <a:srgbClr val="005091"/>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0"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700" b="0" i="0">
                <a:solidFill>
                  <a:srgbClr val="A6A6A6"/>
                </a:solidFill>
                <a:latin typeface="Arial"/>
                <a:cs typeface="Arial"/>
              </a:defRPr>
            </a:lvl1pPr>
          </a:lstStyle>
          <a:p>
            <a:pPr marL="12700">
              <a:lnSpc>
                <a:spcPct val="100000"/>
              </a:lnSpc>
              <a:spcBef>
                <a:spcPts val="30"/>
              </a:spcBef>
            </a:pPr>
            <a:r>
              <a:t>©</a:t>
            </a:r>
            <a:r>
              <a:rPr spc="-25"/>
              <a:t> </a:t>
            </a:r>
            <a:r>
              <a:t>2024</a:t>
            </a:r>
            <a:r>
              <a:rPr spc="-10"/>
              <a:t> </a:t>
            </a:r>
            <a:r>
              <a:t>CAQH,</a:t>
            </a:r>
            <a:r>
              <a:rPr spc="-20"/>
              <a:t> </a:t>
            </a:r>
            <a:r>
              <a:t>All</a:t>
            </a:r>
            <a:r>
              <a:rPr spc="-35"/>
              <a:t> </a:t>
            </a:r>
            <a:r>
              <a:t>Rights</a:t>
            </a:r>
            <a:r>
              <a:rPr spc="-10"/>
              <a:t> </a:t>
            </a:r>
            <a:r>
              <a:t>Reserved.</a:t>
            </a:r>
            <a:r>
              <a:rPr spc="5"/>
              <a:t> </a:t>
            </a:r>
            <a:r>
              <a:t>Confidential</a:t>
            </a:r>
            <a:r>
              <a:rPr spc="-5"/>
              <a:t> </a:t>
            </a:r>
            <a:r>
              <a:t>and</a:t>
            </a:r>
            <a:r>
              <a:rPr spc="-20"/>
              <a:t> </a:t>
            </a:r>
            <a:r>
              <a:rPr spc="-10"/>
              <a:t>Proprietary.</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4</a:t>
            </a:fld>
            <a:endParaRPr lang="en-US"/>
          </a:p>
        </p:txBody>
      </p:sp>
      <p:sp>
        <p:nvSpPr>
          <p:cNvPr id="5" name="Holder 5"/>
          <p:cNvSpPr>
            <a:spLocks noGrp="1"/>
          </p:cNvSpPr>
          <p:nvPr>
            <p:ph type="sldNum" sz="quarter" idx="7"/>
          </p:nvPr>
        </p:nvSpPr>
        <p:spPr/>
        <p:txBody>
          <a:bodyPr lIns="0" tIns="0" rIns="0" bIns="0"/>
          <a:lstStyle>
            <a:lvl1pPr>
              <a:defRPr sz="700" b="1" i="0">
                <a:solidFill>
                  <a:srgbClr val="A6A6A6"/>
                </a:solidFill>
                <a:latin typeface="Arial"/>
                <a:cs typeface="Arial"/>
              </a:defRPr>
            </a:lvl1pPr>
          </a:lstStyle>
          <a:p>
            <a:pPr marL="38100">
              <a:lnSpc>
                <a:spcPct val="100000"/>
              </a:lnSpc>
              <a:spcBef>
                <a:spcPts val="30"/>
              </a:spcBef>
            </a:pPr>
            <a:fld id="{81D60167-4931-47E6-BA6A-407CBD079E47}" type="slidenum">
              <a:rPr spc="-50" dirty="0"/>
              <a:t>‹#›</a:t>
            </a:fld>
            <a:endParaRPr spc="-50"/>
          </a:p>
        </p:txBody>
      </p:sp>
    </p:spTree>
    <p:extLst>
      <p:ext uri="{BB962C8B-B14F-4D97-AF65-F5344CB8AC3E}">
        <p14:creationId xmlns:p14="http://schemas.microsoft.com/office/powerpoint/2010/main" val="3285959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AD9F4-26D7-7EF7-655E-B36ED5D767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1EB051-45A1-B58C-0023-08704A73CE4D}"/>
              </a:ext>
            </a:extLst>
          </p:cNvPr>
          <p:cNvSpPr>
            <a:spLocks noGrp="1"/>
          </p:cNvSpPr>
          <p:nvPr>
            <p:ph idx="1"/>
          </p:nvPr>
        </p:nvSpPr>
        <p:spPr>
          <a:xfrm>
            <a:off x="434623" y="1353253"/>
            <a:ext cx="5508978" cy="4780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28B278C8-7D0C-8AB0-F401-6595984C6A1B}"/>
              </a:ext>
            </a:extLst>
          </p:cNvPr>
          <p:cNvSpPr>
            <a:spLocks noGrp="1"/>
          </p:cNvSpPr>
          <p:nvPr>
            <p:ph idx="13"/>
          </p:nvPr>
        </p:nvSpPr>
        <p:spPr>
          <a:xfrm>
            <a:off x="6263922" y="1353253"/>
            <a:ext cx="5508978" cy="4780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881815"/>
      </p:ext>
    </p:extLst>
  </p:cSld>
  <p:clrMapOvr>
    <a:masterClrMapping/>
  </p:clrMapOvr>
  <p:transition spd="slow">
    <p:push dir="u"/>
  </p:transition>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5A638-C098-AD74-385D-2DDA2796106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4043976"/>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826452D1-4152-797C-F989-CA09F16EF4F4}"/>
              </a:ext>
            </a:extLst>
          </p:cNvPr>
          <p:cNvCxnSpPr/>
          <p:nvPr userDrawn="1"/>
        </p:nvCxnSpPr>
        <p:spPr>
          <a:xfrm>
            <a:off x="425098" y="6249974"/>
            <a:ext cx="11338278" cy="0"/>
          </a:xfrm>
          <a:prstGeom prst="line">
            <a:avLst/>
          </a:prstGeom>
          <a:ln>
            <a:solidFill>
              <a:srgbClr val="898C8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E471199D-C9E8-84F6-B6AA-90960AA89671}"/>
              </a:ext>
            </a:extLst>
          </p:cNvPr>
          <p:cNvGrpSpPr>
            <a:grpSpLocks noChangeAspect="1"/>
          </p:cNvGrpSpPr>
          <p:nvPr userDrawn="1"/>
        </p:nvGrpSpPr>
        <p:grpSpPr>
          <a:xfrm>
            <a:off x="10846593" y="6338642"/>
            <a:ext cx="988219" cy="234274"/>
            <a:chOff x="6364288" y="-1019175"/>
            <a:chExt cx="3529013" cy="836613"/>
          </a:xfrm>
        </p:grpSpPr>
        <p:sp>
          <p:nvSpPr>
            <p:cNvPr id="16" name="Freeform 5">
              <a:extLst>
                <a:ext uri="{FF2B5EF4-FFF2-40B4-BE49-F238E27FC236}">
                  <a16:creationId xmlns:a16="http://schemas.microsoft.com/office/drawing/2014/main" id="{6E13DE6B-0085-0816-CCF0-F88BF3A1B243}"/>
                </a:ext>
              </a:extLst>
            </p:cNvPr>
            <p:cNvSpPr>
              <a:spLocks/>
            </p:cNvSpPr>
            <p:nvPr userDrawn="1"/>
          </p:nvSpPr>
          <p:spPr bwMode="auto">
            <a:xfrm>
              <a:off x="6364288" y="-1019175"/>
              <a:ext cx="738188" cy="836613"/>
            </a:xfrm>
            <a:custGeom>
              <a:avLst/>
              <a:gdLst>
                <a:gd name="T0" fmla="*/ 0 w 415"/>
                <a:gd name="T1" fmla="*/ 236 h 469"/>
                <a:gd name="T2" fmla="*/ 0 w 415"/>
                <a:gd name="T3" fmla="*/ 235 h 469"/>
                <a:gd name="T4" fmla="*/ 234 w 415"/>
                <a:gd name="T5" fmla="*/ 0 h 469"/>
                <a:gd name="T6" fmla="*/ 412 w 415"/>
                <a:gd name="T7" fmla="*/ 70 h 469"/>
                <a:gd name="T8" fmla="*/ 361 w 415"/>
                <a:gd name="T9" fmla="*/ 129 h 469"/>
                <a:gd name="T10" fmla="*/ 234 w 415"/>
                <a:gd name="T11" fmla="*/ 73 h 469"/>
                <a:gd name="T12" fmla="*/ 84 w 415"/>
                <a:gd name="T13" fmla="*/ 233 h 469"/>
                <a:gd name="T14" fmla="*/ 84 w 415"/>
                <a:gd name="T15" fmla="*/ 235 h 469"/>
                <a:gd name="T16" fmla="*/ 234 w 415"/>
                <a:gd name="T17" fmla="*/ 395 h 469"/>
                <a:gd name="T18" fmla="*/ 364 w 415"/>
                <a:gd name="T19" fmla="*/ 337 h 469"/>
                <a:gd name="T20" fmla="*/ 415 w 415"/>
                <a:gd name="T21" fmla="*/ 389 h 469"/>
                <a:gd name="T22" fmla="*/ 231 w 415"/>
                <a:gd name="T23" fmla="*/ 469 h 469"/>
                <a:gd name="T24" fmla="*/ 0 w 415"/>
                <a:gd name="T25"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5" h="469">
                  <a:moveTo>
                    <a:pt x="0" y="236"/>
                  </a:moveTo>
                  <a:cubicBezTo>
                    <a:pt x="0" y="235"/>
                    <a:pt x="0" y="235"/>
                    <a:pt x="0" y="235"/>
                  </a:cubicBezTo>
                  <a:cubicBezTo>
                    <a:pt x="0" y="105"/>
                    <a:pt x="97" y="0"/>
                    <a:pt x="234" y="0"/>
                  </a:cubicBezTo>
                  <a:cubicBezTo>
                    <a:pt x="318" y="0"/>
                    <a:pt x="369" y="29"/>
                    <a:pt x="412" y="70"/>
                  </a:cubicBezTo>
                  <a:cubicBezTo>
                    <a:pt x="361" y="129"/>
                    <a:pt x="361" y="129"/>
                    <a:pt x="361" y="129"/>
                  </a:cubicBezTo>
                  <a:cubicBezTo>
                    <a:pt x="325" y="96"/>
                    <a:pt x="286" y="73"/>
                    <a:pt x="234" y="73"/>
                  </a:cubicBezTo>
                  <a:cubicBezTo>
                    <a:pt x="147" y="73"/>
                    <a:pt x="84" y="144"/>
                    <a:pt x="84" y="233"/>
                  </a:cubicBezTo>
                  <a:cubicBezTo>
                    <a:pt x="84" y="235"/>
                    <a:pt x="84" y="235"/>
                    <a:pt x="84" y="235"/>
                  </a:cubicBezTo>
                  <a:cubicBezTo>
                    <a:pt x="84" y="323"/>
                    <a:pt x="147" y="395"/>
                    <a:pt x="234" y="395"/>
                  </a:cubicBezTo>
                  <a:cubicBezTo>
                    <a:pt x="290" y="395"/>
                    <a:pt x="325" y="373"/>
                    <a:pt x="364" y="337"/>
                  </a:cubicBezTo>
                  <a:cubicBezTo>
                    <a:pt x="415" y="389"/>
                    <a:pt x="415" y="389"/>
                    <a:pt x="415" y="389"/>
                  </a:cubicBezTo>
                  <a:cubicBezTo>
                    <a:pt x="368" y="438"/>
                    <a:pt x="316" y="469"/>
                    <a:pt x="231" y="469"/>
                  </a:cubicBezTo>
                  <a:cubicBezTo>
                    <a:pt x="99" y="469"/>
                    <a:pt x="0" y="366"/>
                    <a:pt x="0"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0EBC72A7-B10A-D566-8C1D-9EF52B1C593B}"/>
                </a:ext>
              </a:extLst>
            </p:cNvPr>
            <p:cNvSpPr>
              <a:spLocks/>
            </p:cNvSpPr>
            <p:nvPr userDrawn="1"/>
          </p:nvSpPr>
          <p:spPr bwMode="auto">
            <a:xfrm>
              <a:off x="8983663" y="-1006475"/>
              <a:ext cx="669925" cy="811213"/>
            </a:xfrm>
            <a:custGeom>
              <a:avLst/>
              <a:gdLst>
                <a:gd name="T0" fmla="*/ 0 w 422"/>
                <a:gd name="T1" fmla="*/ 0 h 511"/>
                <a:gd name="T2" fmla="*/ 89 w 422"/>
                <a:gd name="T3" fmla="*/ 0 h 511"/>
                <a:gd name="T4" fmla="*/ 89 w 422"/>
                <a:gd name="T5" fmla="*/ 212 h 511"/>
                <a:gd name="T6" fmla="*/ 332 w 422"/>
                <a:gd name="T7" fmla="*/ 212 h 511"/>
                <a:gd name="T8" fmla="*/ 332 w 422"/>
                <a:gd name="T9" fmla="*/ 0 h 511"/>
                <a:gd name="T10" fmla="*/ 422 w 422"/>
                <a:gd name="T11" fmla="*/ 0 h 511"/>
                <a:gd name="T12" fmla="*/ 422 w 422"/>
                <a:gd name="T13" fmla="*/ 511 h 511"/>
                <a:gd name="T14" fmla="*/ 332 w 422"/>
                <a:gd name="T15" fmla="*/ 511 h 511"/>
                <a:gd name="T16" fmla="*/ 332 w 422"/>
                <a:gd name="T17" fmla="*/ 295 h 511"/>
                <a:gd name="T18" fmla="*/ 89 w 422"/>
                <a:gd name="T19" fmla="*/ 295 h 511"/>
                <a:gd name="T20" fmla="*/ 89 w 422"/>
                <a:gd name="T21" fmla="*/ 511 h 511"/>
                <a:gd name="T22" fmla="*/ 0 w 422"/>
                <a:gd name="T23" fmla="*/ 511 h 511"/>
                <a:gd name="T24" fmla="*/ 0 w 422"/>
                <a:gd name="T25"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2" h="511">
                  <a:moveTo>
                    <a:pt x="0" y="0"/>
                  </a:moveTo>
                  <a:lnTo>
                    <a:pt x="89" y="0"/>
                  </a:lnTo>
                  <a:lnTo>
                    <a:pt x="89" y="212"/>
                  </a:lnTo>
                  <a:lnTo>
                    <a:pt x="332" y="212"/>
                  </a:lnTo>
                  <a:lnTo>
                    <a:pt x="332" y="0"/>
                  </a:lnTo>
                  <a:lnTo>
                    <a:pt x="422" y="0"/>
                  </a:lnTo>
                  <a:lnTo>
                    <a:pt x="422" y="511"/>
                  </a:lnTo>
                  <a:lnTo>
                    <a:pt x="332" y="511"/>
                  </a:lnTo>
                  <a:lnTo>
                    <a:pt x="332" y="295"/>
                  </a:lnTo>
                  <a:lnTo>
                    <a:pt x="89" y="295"/>
                  </a:lnTo>
                  <a:lnTo>
                    <a:pt x="89" y="511"/>
                  </a:lnTo>
                  <a:lnTo>
                    <a:pt x="0" y="511"/>
                  </a:lnTo>
                  <a:lnTo>
                    <a:pt x="0" y="0"/>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D0370B63-4893-19B6-0BE6-721540E5B104}"/>
                </a:ext>
              </a:extLst>
            </p:cNvPr>
            <p:cNvSpPr>
              <a:spLocks noEditPoints="1"/>
            </p:cNvSpPr>
            <p:nvPr userDrawn="1"/>
          </p:nvSpPr>
          <p:spPr bwMode="auto">
            <a:xfrm>
              <a:off x="7974013" y="-1019175"/>
              <a:ext cx="846138" cy="836613"/>
            </a:xfrm>
            <a:custGeom>
              <a:avLst/>
              <a:gdLst>
                <a:gd name="T0" fmla="*/ 0 w 475"/>
                <a:gd name="T1" fmla="*/ 236 h 469"/>
                <a:gd name="T2" fmla="*/ 0 w 475"/>
                <a:gd name="T3" fmla="*/ 235 h 469"/>
                <a:gd name="T4" fmla="*/ 238 w 475"/>
                <a:gd name="T5" fmla="*/ 0 h 469"/>
                <a:gd name="T6" fmla="*/ 475 w 475"/>
                <a:gd name="T7" fmla="*/ 233 h 469"/>
                <a:gd name="T8" fmla="*/ 475 w 475"/>
                <a:gd name="T9" fmla="*/ 235 h 469"/>
                <a:gd name="T10" fmla="*/ 237 w 475"/>
                <a:gd name="T11" fmla="*/ 469 h 469"/>
                <a:gd name="T12" fmla="*/ 0 w 475"/>
                <a:gd name="T13" fmla="*/ 236 h 469"/>
                <a:gd name="T14" fmla="*/ 391 w 475"/>
                <a:gd name="T15" fmla="*/ 236 h 469"/>
                <a:gd name="T16" fmla="*/ 391 w 475"/>
                <a:gd name="T17" fmla="*/ 235 h 469"/>
                <a:gd name="T18" fmla="*/ 237 w 475"/>
                <a:gd name="T19" fmla="*/ 73 h 469"/>
                <a:gd name="T20" fmla="*/ 84 w 475"/>
                <a:gd name="T21" fmla="*/ 233 h 469"/>
                <a:gd name="T22" fmla="*/ 84 w 475"/>
                <a:gd name="T23" fmla="*/ 235 h 469"/>
                <a:gd name="T24" fmla="*/ 238 w 475"/>
                <a:gd name="T25" fmla="*/ 395 h 469"/>
                <a:gd name="T26" fmla="*/ 391 w 475"/>
                <a:gd name="T27"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5" h="469">
                  <a:moveTo>
                    <a:pt x="0" y="236"/>
                  </a:moveTo>
                  <a:cubicBezTo>
                    <a:pt x="0" y="235"/>
                    <a:pt x="0" y="235"/>
                    <a:pt x="0" y="235"/>
                  </a:cubicBezTo>
                  <a:cubicBezTo>
                    <a:pt x="0" y="107"/>
                    <a:pt x="99" y="0"/>
                    <a:pt x="238" y="0"/>
                  </a:cubicBezTo>
                  <a:cubicBezTo>
                    <a:pt x="378" y="0"/>
                    <a:pt x="475" y="105"/>
                    <a:pt x="475" y="233"/>
                  </a:cubicBezTo>
                  <a:cubicBezTo>
                    <a:pt x="475" y="235"/>
                    <a:pt x="475" y="235"/>
                    <a:pt x="475" y="235"/>
                  </a:cubicBezTo>
                  <a:cubicBezTo>
                    <a:pt x="475" y="362"/>
                    <a:pt x="376" y="469"/>
                    <a:pt x="237" y="469"/>
                  </a:cubicBezTo>
                  <a:cubicBezTo>
                    <a:pt x="97" y="469"/>
                    <a:pt x="0" y="364"/>
                    <a:pt x="0" y="236"/>
                  </a:cubicBezTo>
                  <a:close/>
                  <a:moveTo>
                    <a:pt x="391" y="236"/>
                  </a:moveTo>
                  <a:cubicBezTo>
                    <a:pt x="391" y="235"/>
                    <a:pt x="391" y="235"/>
                    <a:pt x="391" y="235"/>
                  </a:cubicBezTo>
                  <a:cubicBezTo>
                    <a:pt x="391" y="146"/>
                    <a:pt x="327" y="73"/>
                    <a:pt x="237" y="73"/>
                  </a:cubicBezTo>
                  <a:cubicBezTo>
                    <a:pt x="147" y="73"/>
                    <a:pt x="84" y="145"/>
                    <a:pt x="84" y="233"/>
                  </a:cubicBezTo>
                  <a:cubicBezTo>
                    <a:pt x="84" y="235"/>
                    <a:pt x="84" y="235"/>
                    <a:pt x="84" y="235"/>
                  </a:cubicBezTo>
                  <a:cubicBezTo>
                    <a:pt x="84" y="323"/>
                    <a:pt x="148" y="395"/>
                    <a:pt x="238" y="395"/>
                  </a:cubicBezTo>
                  <a:cubicBezTo>
                    <a:pt x="328" y="395"/>
                    <a:pt x="391" y="324"/>
                    <a:pt x="391"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9" name="Picture 8">
              <a:extLst>
                <a:ext uri="{FF2B5EF4-FFF2-40B4-BE49-F238E27FC236}">
                  <a16:creationId xmlns:a16="http://schemas.microsoft.com/office/drawing/2014/main" id="{CA3523C3-EFAB-C152-1E8A-B4C146B7F5F9}"/>
                </a:ext>
              </a:extLst>
            </p:cNvPr>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094538" y="-1012825"/>
              <a:ext cx="1804988"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Freeform 9">
              <a:extLst>
                <a:ext uri="{FF2B5EF4-FFF2-40B4-BE49-F238E27FC236}">
                  <a16:creationId xmlns:a16="http://schemas.microsoft.com/office/drawing/2014/main" id="{E5A756AC-DF0A-340A-5BF1-BF2B0FCE6EA8}"/>
                </a:ext>
              </a:extLst>
            </p:cNvPr>
            <p:cNvSpPr>
              <a:spLocks/>
            </p:cNvSpPr>
            <p:nvPr userDrawn="1"/>
          </p:nvSpPr>
          <p:spPr bwMode="auto">
            <a:xfrm>
              <a:off x="9807576" y="-279400"/>
              <a:ext cx="85725" cy="84138"/>
            </a:xfrm>
            <a:custGeom>
              <a:avLst/>
              <a:gdLst>
                <a:gd name="T0" fmla="*/ 7 w 54"/>
                <a:gd name="T1" fmla="*/ 13 h 53"/>
                <a:gd name="T2" fmla="*/ 7 w 54"/>
                <a:gd name="T3" fmla="*/ 53 h 53"/>
                <a:gd name="T4" fmla="*/ 0 w 54"/>
                <a:gd name="T5" fmla="*/ 53 h 53"/>
                <a:gd name="T6" fmla="*/ 0 w 54"/>
                <a:gd name="T7" fmla="*/ 0 h 53"/>
                <a:gd name="T8" fmla="*/ 8 w 54"/>
                <a:gd name="T9" fmla="*/ 0 h 53"/>
                <a:gd name="T10" fmla="*/ 27 w 54"/>
                <a:gd name="T11" fmla="*/ 31 h 53"/>
                <a:gd name="T12" fmla="*/ 46 w 54"/>
                <a:gd name="T13" fmla="*/ 0 h 53"/>
                <a:gd name="T14" fmla="*/ 54 w 54"/>
                <a:gd name="T15" fmla="*/ 0 h 53"/>
                <a:gd name="T16" fmla="*/ 54 w 54"/>
                <a:gd name="T17" fmla="*/ 53 h 53"/>
                <a:gd name="T18" fmla="*/ 46 w 54"/>
                <a:gd name="T19" fmla="*/ 53 h 53"/>
                <a:gd name="T20" fmla="*/ 46 w 54"/>
                <a:gd name="T21" fmla="*/ 13 h 53"/>
                <a:gd name="T22" fmla="*/ 27 w 54"/>
                <a:gd name="T23" fmla="*/ 43 h 53"/>
                <a:gd name="T24" fmla="*/ 7 w 54"/>
                <a:gd name="T25"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7" y="13"/>
                  </a:moveTo>
                  <a:lnTo>
                    <a:pt x="7" y="53"/>
                  </a:lnTo>
                  <a:lnTo>
                    <a:pt x="0" y="53"/>
                  </a:lnTo>
                  <a:lnTo>
                    <a:pt x="0" y="0"/>
                  </a:lnTo>
                  <a:lnTo>
                    <a:pt x="8" y="0"/>
                  </a:lnTo>
                  <a:lnTo>
                    <a:pt x="27" y="31"/>
                  </a:lnTo>
                  <a:lnTo>
                    <a:pt x="46" y="0"/>
                  </a:lnTo>
                  <a:lnTo>
                    <a:pt x="54" y="0"/>
                  </a:lnTo>
                  <a:lnTo>
                    <a:pt x="54" y="53"/>
                  </a:lnTo>
                  <a:lnTo>
                    <a:pt x="46" y="53"/>
                  </a:lnTo>
                  <a:lnTo>
                    <a:pt x="46" y="13"/>
                  </a:lnTo>
                  <a:lnTo>
                    <a:pt x="27" y="43"/>
                  </a:lnTo>
                  <a:lnTo>
                    <a:pt x="7"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a:extLst>
                <a:ext uri="{FF2B5EF4-FFF2-40B4-BE49-F238E27FC236}">
                  <a16:creationId xmlns:a16="http://schemas.microsoft.com/office/drawing/2014/main" id="{D2626143-0B88-A836-1841-4DBA927A16B0}"/>
                </a:ext>
              </a:extLst>
            </p:cNvPr>
            <p:cNvSpPr>
              <a:spLocks/>
            </p:cNvSpPr>
            <p:nvPr userDrawn="1"/>
          </p:nvSpPr>
          <p:spPr bwMode="auto">
            <a:xfrm>
              <a:off x="9729788" y="-282575"/>
              <a:ext cx="63500" cy="93663"/>
            </a:xfrm>
            <a:custGeom>
              <a:avLst/>
              <a:gdLst>
                <a:gd name="T0" fmla="*/ 29 w 36"/>
                <a:gd name="T1" fmla="*/ 13 h 52"/>
                <a:gd name="T2" fmla="*/ 24 w 36"/>
                <a:gd name="T3" fmla="*/ 9 h 52"/>
                <a:gd name="T4" fmla="*/ 10 w 36"/>
                <a:gd name="T5" fmla="*/ 9 h 52"/>
                <a:gd name="T6" fmla="*/ 10 w 36"/>
                <a:gd name="T7" fmla="*/ 18 h 52"/>
                <a:gd name="T8" fmla="*/ 15 w 36"/>
                <a:gd name="T9" fmla="*/ 20 h 52"/>
                <a:gd name="T10" fmla="*/ 27 w 36"/>
                <a:gd name="T11" fmla="*/ 25 h 52"/>
                <a:gd name="T12" fmla="*/ 32 w 36"/>
                <a:gd name="T13" fmla="*/ 29 h 52"/>
                <a:gd name="T14" fmla="*/ 30 w 36"/>
                <a:gd name="T15" fmla="*/ 46 h 52"/>
                <a:gd name="T16" fmla="*/ 0 w 36"/>
                <a:gd name="T17" fmla="*/ 42 h 52"/>
                <a:gd name="T18" fmla="*/ 4 w 36"/>
                <a:gd name="T19" fmla="*/ 37 h 52"/>
                <a:gd name="T20" fmla="*/ 25 w 36"/>
                <a:gd name="T21" fmla="*/ 41 h 52"/>
                <a:gd name="T22" fmla="*/ 24 w 36"/>
                <a:gd name="T23" fmla="*/ 31 h 52"/>
                <a:gd name="T24" fmla="*/ 18 w 36"/>
                <a:gd name="T25" fmla="*/ 28 h 52"/>
                <a:gd name="T26" fmla="*/ 4 w 36"/>
                <a:gd name="T27" fmla="*/ 21 h 52"/>
                <a:gd name="T28" fmla="*/ 6 w 36"/>
                <a:gd name="T29" fmla="*/ 5 h 52"/>
                <a:gd name="T30" fmla="*/ 27 w 36"/>
                <a:gd name="T31" fmla="*/ 3 h 52"/>
                <a:gd name="T32" fmla="*/ 33 w 36"/>
                <a:gd name="T33" fmla="*/ 8 h 52"/>
                <a:gd name="T34" fmla="*/ 29 w 36"/>
                <a:gd name="T35" fmla="*/ 1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52">
                  <a:moveTo>
                    <a:pt x="29" y="13"/>
                  </a:moveTo>
                  <a:cubicBezTo>
                    <a:pt x="28" y="11"/>
                    <a:pt x="26" y="10"/>
                    <a:pt x="24" y="9"/>
                  </a:cubicBezTo>
                  <a:cubicBezTo>
                    <a:pt x="20" y="7"/>
                    <a:pt x="14" y="7"/>
                    <a:pt x="10" y="9"/>
                  </a:cubicBezTo>
                  <a:cubicBezTo>
                    <a:pt x="7" y="11"/>
                    <a:pt x="7" y="16"/>
                    <a:pt x="10" y="18"/>
                  </a:cubicBezTo>
                  <a:cubicBezTo>
                    <a:pt x="11" y="19"/>
                    <a:pt x="13" y="20"/>
                    <a:pt x="15" y="20"/>
                  </a:cubicBezTo>
                  <a:cubicBezTo>
                    <a:pt x="19" y="22"/>
                    <a:pt x="24" y="23"/>
                    <a:pt x="27" y="25"/>
                  </a:cubicBezTo>
                  <a:cubicBezTo>
                    <a:pt x="29" y="26"/>
                    <a:pt x="31" y="27"/>
                    <a:pt x="32" y="29"/>
                  </a:cubicBezTo>
                  <a:cubicBezTo>
                    <a:pt x="36" y="34"/>
                    <a:pt x="34" y="42"/>
                    <a:pt x="30" y="46"/>
                  </a:cubicBezTo>
                  <a:cubicBezTo>
                    <a:pt x="22" y="52"/>
                    <a:pt x="5" y="50"/>
                    <a:pt x="0" y="42"/>
                  </a:cubicBezTo>
                  <a:cubicBezTo>
                    <a:pt x="4" y="37"/>
                    <a:pt x="4" y="37"/>
                    <a:pt x="4" y="37"/>
                  </a:cubicBezTo>
                  <a:cubicBezTo>
                    <a:pt x="8" y="43"/>
                    <a:pt x="19" y="45"/>
                    <a:pt x="25" y="41"/>
                  </a:cubicBezTo>
                  <a:cubicBezTo>
                    <a:pt x="28" y="39"/>
                    <a:pt x="28" y="34"/>
                    <a:pt x="24" y="31"/>
                  </a:cubicBezTo>
                  <a:cubicBezTo>
                    <a:pt x="23" y="30"/>
                    <a:pt x="20" y="29"/>
                    <a:pt x="18" y="28"/>
                  </a:cubicBezTo>
                  <a:cubicBezTo>
                    <a:pt x="13" y="26"/>
                    <a:pt x="7" y="25"/>
                    <a:pt x="4" y="21"/>
                  </a:cubicBezTo>
                  <a:cubicBezTo>
                    <a:pt x="0" y="17"/>
                    <a:pt x="0" y="8"/>
                    <a:pt x="6" y="5"/>
                  </a:cubicBezTo>
                  <a:cubicBezTo>
                    <a:pt x="11" y="1"/>
                    <a:pt x="21" y="0"/>
                    <a:pt x="27" y="3"/>
                  </a:cubicBezTo>
                  <a:cubicBezTo>
                    <a:pt x="30" y="5"/>
                    <a:pt x="32" y="6"/>
                    <a:pt x="33" y="8"/>
                  </a:cubicBezTo>
                  <a:lnTo>
                    <a:pt x="29"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3">
            <a:extLst>
              <a:ext uri="{FF2B5EF4-FFF2-40B4-BE49-F238E27FC236}">
                <a16:creationId xmlns:a16="http://schemas.microsoft.com/office/drawing/2014/main" id="{293D8617-059C-CB04-94BC-EA065F56134B}"/>
              </a:ext>
            </a:extLst>
          </p:cNvPr>
          <p:cNvSpPr txBox="1">
            <a:spLocks/>
          </p:cNvSpPr>
          <p:nvPr userDrawn="1"/>
        </p:nvSpPr>
        <p:spPr>
          <a:xfrm>
            <a:off x="90205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CAQH, All Rights Reserved. Confidential and Proprietary.</a:t>
            </a:r>
          </a:p>
        </p:txBody>
      </p:sp>
      <p:sp>
        <p:nvSpPr>
          <p:cNvPr id="5" name="Slide Number Placeholder 3">
            <a:extLst>
              <a:ext uri="{FF2B5EF4-FFF2-40B4-BE49-F238E27FC236}">
                <a16:creationId xmlns:a16="http://schemas.microsoft.com/office/drawing/2014/main" id="{3F612018-A310-51AF-5293-34A660E64552}"/>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mtClean="0"/>
              <a:pPr lvl="0"/>
              <a:t>‹#›</a:t>
            </a:fld>
            <a:endParaRPr lang="en-US"/>
          </a:p>
        </p:txBody>
      </p:sp>
      <p:sp>
        <p:nvSpPr>
          <p:cNvPr id="2" name="Rectangle 1">
            <a:extLst>
              <a:ext uri="{FF2B5EF4-FFF2-40B4-BE49-F238E27FC236}">
                <a16:creationId xmlns:a16="http://schemas.microsoft.com/office/drawing/2014/main" id="{8963F2B5-C534-8810-27E7-B6DC7BC06F75}"/>
              </a:ext>
            </a:extLst>
          </p:cNvPr>
          <p:cNvSpPr/>
          <p:nvPr userDrawn="1"/>
        </p:nvSpPr>
        <p:spPr>
          <a:xfrm>
            <a:off x="0" y="2751826"/>
            <a:ext cx="12192000" cy="989814"/>
          </a:xfrm>
          <a:prstGeom prst="rect">
            <a:avLst/>
          </a:prstGeom>
          <a:gradFill flip="none" rotWithShape="1">
            <a:gsLst>
              <a:gs pos="84000">
                <a:srgbClr val="1D396B"/>
              </a:gs>
              <a:gs pos="0">
                <a:srgbClr val="1462AD"/>
              </a:gs>
              <a:gs pos="100000">
                <a:srgbClr val="22305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Placeholder 1">
            <a:extLst>
              <a:ext uri="{FF2B5EF4-FFF2-40B4-BE49-F238E27FC236}">
                <a16:creationId xmlns:a16="http://schemas.microsoft.com/office/drawing/2014/main" id="{AC49CD6F-CA82-CE4D-60E1-D8A1780EC56F}"/>
              </a:ext>
            </a:extLst>
          </p:cNvPr>
          <p:cNvSpPr>
            <a:spLocks noGrp="1"/>
          </p:cNvSpPr>
          <p:nvPr>
            <p:ph type="title"/>
          </p:nvPr>
        </p:nvSpPr>
        <p:spPr>
          <a:xfrm>
            <a:off x="423862" y="2888351"/>
            <a:ext cx="11342687" cy="744008"/>
          </a:xfrm>
          <a:prstGeom prst="rect">
            <a:avLst/>
          </a:prstGeom>
        </p:spPr>
        <p:txBody>
          <a:bodyPr vert="horz" lIns="0" tIns="0" rIns="0" bIns="0" rtlCol="0" anchor="ctr">
            <a:noAutofit/>
          </a:bodyPr>
          <a:lstStyle>
            <a:lvl1pPr algn="ctr">
              <a:defRPr/>
            </a:lvl1pPr>
          </a:lstStyle>
          <a:p>
            <a:r>
              <a:rPr lang="en-US"/>
              <a:t>Click to edit Master title style</a:t>
            </a:r>
          </a:p>
        </p:txBody>
      </p:sp>
    </p:spTree>
    <p:extLst>
      <p:ext uri="{BB962C8B-B14F-4D97-AF65-F5344CB8AC3E}">
        <p14:creationId xmlns:p14="http://schemas.microsoft.com/office/powerpoint/2010/main" val="2700914546"/>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Section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8EAB0C-27CE-02CD-A064-021FDE75AE83}"/>
              </a:ext>
            </a:extLst>
          </p:cNvPr>
          <p:cNvSpPr/>
          <p:nvPr userDrawn="1"/>
        </p:nvSpPr>
        <p:spPr>
          <a:xfrm flipH="1">
            <a:off x="0" y="-1"/>
            <a:ext cx="12192000" cy="6858001"/>
          </a:xfrm>
          <a:prstGeom prst="rect">
            <a:avLst/>
          </a:prstGeom>
          <a:gradFill flip="none" rotWithShape="1">
            <a:gsLst>
              <a:gs pos="47000">
                <a:srgbClr val="1462AD"/>
              </a:gs>
              <a:gs pos="0">
                <a:srgbClr val="22305B"/>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hord 9">
            <a:extLst>
              <a:ext uri="{FF2B5EF4-FFF2-40B4-BE49-F238E27FC236}">
                <a16:creationId xmlns:a16="http://schemas.microsoft.com/office/drawing/2014/main" id="{DC79E401-0B2A-2CBC-2641-19EDE0107A4A}"/>
              </a:ext>
            </a:extLst>
          </p:cNvPr>
          <p:cNvSpPr/>
          <p:nvPr userDrawn="1"/>
        </p:nvSpPr>
        <p:spPr>
          <a:xfrm>
            <a:off x="1196552" y="1001601"/>
            <a:ext cx="13361037" cy="13361037"/>
          </a:xfrm>
          <a:prstGeom prst="chord">
            <a:avLst>
              <a:gd name="adj1" fmla="val 11226873"/>
              <a:gd name="adj2" fmla="val 21167167"/>
            </a:avLst>
          </a:prstGeom>
          <a:gradFill flip="none" rotWithShape="1">
            <a:gsLst>
              <a:gs pos="80000">
                <a:srgbClr val="1462AD">
                  <a:alpha val="20000"/>
                </a:srgbClr>
              </a:gs>
              <a:gs pos="0">
                <a:schemeClr val="accent2">
                  <a:alpha val="50000"/>
                </a:schemeClr>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Rectangle 1">
            <a:extLst>
              <a:ext uri="{FF2B5EF4-FFF2-40B4-BE49-F238E27FC236}">
                <a16:creationId xmlns:a16="http://schemas.microsoft.com/office/drawing/2014/main" id="{02A0F569-94E2-4721-0315-D838D4BC55E4}"/>
              </a:ext>
            </a:extLst>
          </p:cNvPr>
          <p:cNvSpPr/>
          <p:nvPr userDrawn="1"/>
        </p:nvSpPr>
        <p:spPr>
          <a:xfrm flipH="1">
            <a:off x="-9" y="-1"/>
            <a:ext cx="7400929" cy="6862764"/>
          </a:xfrm>
          <a:prstGeom prst="rect">
            <a:avLst/>
          </a:prstGeom>
          <a:gradFill>
            <a:gsLst>
              <a:gs pos="37000">
                <a:schemeClr val="bg1">
                  <a:alpha val="0"/>
                </a:schemeClr>
              </a:gs>
              <a:gs pos="100000">
                <a:schemeClr val="accent6"/>
              </a:gs>
            </a:gsLst>
            <a:lin ang="20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ooter Placeholder 3">
            <a:extLst>
              <a:ext uri="{FF2B5EF4-FFF2-40B4-BE49-F238E27FC236}">
                <a16:creationId xmlns:a16="http://schemas.microsoft.com/office/drawing/2014/main" id="{41FD3764-6455-7F68-1D2C-BC30F8C67CB8}"/>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dirty="0">
                <a:solidFill>
                  <a:schemeClr val="bg1"/>
                </a:solidFill>
              </a:rPr>
              <a:t>© 2024 CAQH, All Rights Reserved. Confidential and Proprietary.</a:t>
            </a:r>
          </a:p>
        </p:txBody>
      </p:sp>
      <p:sp>
        <p:nvSpPr>
          <p:cNvPr id="29" name="Slide Number Placeholder 3">
            <a:extLst>
              <a:ext uri="{FF2B5EF4-FFF2-40B4-BE49-F238E27FC236}">
                <a16:creationId xmlns:a16="http://schemas.microsoft.com/office/drawing/2014/main" id="{79309B44-5491-A446-747B-6E0BA3D8332D}"/>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cxnSp>
        <p:nvCxnSpPr>
          <p:cNvPr id="9" name="Straight Connector 8">
            <a:extLst>
              <a:ext uri="{FF2B5EF4-FFF2-40B4-BE49-F238E27FC236}">
                <a16:creationId xmlns:a16="http://schemas.microsoft.com/office/drawing/2014/main" id="{59811BF0-5289-54BD-450C-BBC48CA5BF1D}"/>
              </a:ext>
            </a:extLst>
          </p:cNvPr>
          <p:cNvCxnSpPr>
            <a:cxnSpLocks/>
          </p:cNvCxnSpPr>
          <p:nvPr userDrawn="1"/>
        </p:nvCxnSpPr>
        <p:spPr>
          <a:xfrm>
            <a:off x="0" y="3259456"/>
            <a:ext cx="2882096" cy="10312"/>
          </a:xfrm>
          <a:prstGeom prst="line">
            <a:avLst/>
          </a:prstGeom>
          <a:noFill/>
          <a:ln w="12700">
            <a:gradFill>
              <a:gsLst>
                <a:gs pos="0">
                  <a:schemeClr val="bg1"/>
                </a:gs>
                <a:gs pos="72000">
                  <a:schemeClr val="accent2"/>
                </a:gs>
              </a:gsLst>
              <a:lin ang="10800000" scaled="0"/>
            </a:gradFill>
            <a:headEnd type="none" w="med" len="med"/>
            <a:tailEnd type="oval" w="med" len="med"/>
          </a:ln>
        </p:spPr>
        <p:style>
          <a:lnRef idx="2">
            <a:schemeClr val="accent1">
              <a:shade val="15000"/>
            </a:schemeClr>
          </a:lnRef>
          <a:fillRef idx="1">
            <a:schemeClr val="accent1"/>
          </a:fillRef>
          <a:effectRef idx="0">
            <a:schemeClr val="accent1"/>
          </a:effectRef>
          <a:fontRef idx="minor">
            <a:schemeClr val="lt1"/>
          </a:fontRef>
        </p:style>
      </p:cxnSp>
      <p:sp>
        <p:nvSpPr>
          <p:cNvPr id="5" name="Title 1">
            <a:extLst>
              <a:ext uri="{FF2B5EF4-FFF2-40B4-BE49-F238E27FC236}">
                <a16:creationId xmlns:a16="http://schemas.microsoft.com/office/drawing/2014/main" id="{D6748E17-31E4-A5ED-D97A-3726E60CF14D}"/>
              </a:ext>
            </a:extLst>
          </p:cNvPr>
          <p:cNvSpPr>
            <a:spLocks noGrp="1"/>
          </p:cNvSpPr>
          <p:nvPr>
            <p:ph type="title" hasCustomPrompt="1"/>
          </p:nvPr>
        </p:nvSpPr>
        <p:spPr>
          <a:xfrm>
            <a:off x="3524963" y="2881372"/>
            <a:ext cx="7910547" cy="2277304"/>
          </a:xfrm>
          <a:prstGeom prst="rect">
            <a:avLst/>
          </a:prstGeom>
        </p:spPr>
        <p:txBody>
          <a:bodyPr lIns="0" tIns="0" rIns="0" bIns="0" anchor="t"/>
          <a:lstStyle>
            <a:lvl1pPr algn="l">
              <a:defRPr lang="en-US" sz="6000" dirty="0">
                <a:solidFill>
                  <a:schemeClr val="bg1"/>
                </a:solidFill>
              </a:defRPr>
            </a:lvl1pPr>
          </a:lstStyle>
          <a:p>
            <a:pPr lvl="0"/>
            <a:r>
              <a:rPr lang="en-US"/>
              <a:t>Brief Title Here up to Two Lines</a:t>
            </a:r>
          </a:p>
        </p:txBody>
      </p:sp>
      <p:pic>
        <p:nvPicPr>
          <p:cNvPr id="7" name="Picture 6" descr="A blue and black logo&#10;&#10;Description automatically generated">
            <a:extLst>
              <a:ext uri="{FF2B5EF4-FFF2-40B4-BE49-F238E27FC236}">
                <a16:creationId xmlns:a16="http://schemas.microsoft.com/office/drawing/2014/main" id="{CB97DEF7-0D53-5F75-F964-E0CACD9CB5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026" y="295434"/>
            <a:ext cx="3376535" cy="1412100"/>
          </a:xfrm>
          <a:prstGeom prst="rect">
            <a:avLst/>
          </a:prstGeom>
        </p:spPr>
      </p:pic>
    </p:spTree>
    <p:extLst>
      <p:ext uri="{BB962C8B-B14F-4D97-AF65-F5344CB8AC3E}">
        <p14:creationId xmlns:p14="http://schemas.microsoft.com/office/powerpoint/2010/main" val="3108939323"/>
      </p:ext>
    </p:extLst>
  </p:cSld>
  <p:clrMapOvr>
    <a:masterClrMapping/>
  </p:clrMapOvr>
  <p:transition spd="slow" advTm="10000">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ue-Main-Hea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8EAB0C-27CE-02CD-A064-021FDE75AE83}"/>
              </a:ext>
            </a:extLst>
          </p:cNvPr>
          <p:cNvSpPr/>
          <p:nvPr userDrawn="1"/>
        </p:nvSpPr>
        <p:spPr>
          <a:xfrm>
            <a:off x="0" y="0"/>
            <a:ext cx="12192000" cy="6866593"/>
          </a:xfrm>
          <a:prstGeom prst="rect">
            <a:avLst/>
          </a:prstGeom>
          <a:gradFill flip="none" rotWithShape="1">
            <a:gsLst>
              <a:gs pos="64000">
                <a:srgbClr val="1462AD"/>
              </a:gs>
              <a:gs pos="12000">
                <a:srgbClr val="22305B"/>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
            <a:extLst>
              <a:ext uri="{FF2B5EF4-FFF2-40B4-BE49-F238E27FC236}">
                <a16:creationId xmlns:a16="http://schemas.microsoft.com/office/drawing/2014/main" id="{D0D9549E-D0CA-FACF-93B5-4E68DA996C2B}"/>
              </a:ext>
            </a:extLst>
          </p:cNvPr>
          <p:cNvSpPr>
            <a:spLocks noGrp="1"/>
          </p:cNvSpPr>
          <p:nvPr>
            <p:ph type="body" sz="quarter" idx="16" hasCustomPrompt="1"/>
          </p:nvPr>
        </p:nvSpPr>
        <p:spPr>
          <a:xfrm>
            <a:off x="775504" y="480349"/>
            <a:ext cx="10625921" cy="450850"/>
          </a:xfrm>
          <a:prstGeom prst="rect">
            <a:avLst/>
          </a:prstGeom>
          <a:noFill/>
        </p:spPr>
        <p:txBody>
          <a:bodyPr vert="horz" wrap="square" lIns="0" tIns="0" rIns="0" bIns="0" rtlCol="0" anchor="b">
            <a:noAutofit/>
          </a:bodyPr>
          <a:lstStyle>
            <a:lvl1pPr algn="ctr">
              <a:defRPr lang="en-US" sz="1125" b="1" spc="375" dirty="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buNone/>
            </a:pPr>
            <a:r>
              <a:rPr lang="en-US"/>
              <a:t>EYEBROW ABOVE HEADLINE</a:t>
            </a:r>
          </a:p>
        </p:txBody>
      </p:sp>
      <p:sp>
        <p:nvSpPr>
          <p:cNvPr id="4" name="Title 1">
            <a:extLst>
              <a:ext uri="{FF2B5EF4-FFF2-40B4-BE49-F238E27FC236}">
                <a16:creationId xmlns:a16="http://schemas.microsoft.com/office/drawing/2014/main" id="{17ADE3A2-64BF-12CE-2CBB-7E4782D101C7}"/>
              </a:ext>
            </a:extLst>
          </p:cNvPr>
          <p:cNvSpPr>
            <a:spLocks noGrp="1"/>
          </p:cNvSpPr>
          <p:nvPr>
            <p:ph type="title" hasCustomPrompt="1"/>
          </p:nvPr>
        </p:nvSpPr>
        <p:spPr>
          <a:xfrm>
            <a:off x="752437" y="1024862"/>
            <a:ext cx="10625921" cy="852627"/>
          </a:xfrm>
          <a:prstGeom prst="rect">
            <a:avLst/>
          </a:prstGeom>
        </p:spPr>
        <p:txBody>
          <a:bodyPr lIns="0" tIns="0" rIns="0" bIns="0" anchor="t"/>
          <a:lstStyle>
            <a:lvl1pPr algn="ctr">
              <a:defRPr lang="en-US" sz="3200" dirty="0">
                <a:solidFill>
                  <a:schemeClr val="bg1"/>
                </a:solidFill>
              </a:defRPr>
            </a:lvl1pPr>
          </a:lstStyle>
          <a:p>
            <a:pPr lvl="0"/>
            <a:r>
              <a:rPr lang="en-US"/>
              <a:t>Type Brief Title Here with Eyebrow if Needed</a:t>
            </a:r>
          </a:p>
        </p:txBody>
      </p:sp>
      <p:sp>
        <p:nvSpPr>
          <p:cNvPr id="8" name="Footer Placeholder 3">
            <a:extLst>
              <a:ext uri="{FF2B5EF4-FFF2-40B4-BE49-F238E27FC236}">
                <a16:creationId xmlns:a16="http://schemas.microsoft.com/office/drawing/2014/main" id="{32048B17-04D0-BB70-DA5B-0D1B5C4BC756}"/>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9" name="Slide Number Placeholder 3">
            <a:extLst>
              <a:ext uri="{FF2B5EF4-FFF2-40B4-BE49-F238E27FC236}">
                <a16:creationId xmlns:a16="http://schemas.microsoft.com/office/drawing/2014/main" id="{E13B7544-34BB-2629-9A8A-6B44561CC4E7}"/>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dirty="0">
              <a:solidFill>
                <a:schemeClr val="bg1"/>
              </a:solidFill>
            </a:endParaRPr>
          </a:p>
        </p:txBody>
      </p:sp>
      <p:sp>
        <p:nvSpPr>
          <p:cNvPr id="5" name="Freeform 9">
            <a:extLst>
              <a:ext uri="{FF2B5EF4-FFF2-40B4-BE49-F238E27FC236}">
                <a16:creationId xmlns:a16="http://schemas.microsoft.com/office/drawing/2014/main" id="{709D8030-0C0F-3CE1-295B-DCCD4092E8A2}"/>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27357454"/>
      </p:ext>
    </p:extLst>
  </p:cSld>
  <p:clrMapOvr>
    <a:masterClrMapping/>
  </p:clrMapOvr>
  <p:transition spd="slow" advTm="10000">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lue-Light-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0A64A4B-17D8-167D-4C40-3C54517A5FF1}"/>
              </a:ext>
            </a:extLst>
          </p:cNvPr>
          <p:cNvSpPr/>
          <p:nvPr userDrawn="1"/>
        </p:nvSpPr>
        <p:spPr>
          <a:xfrm>
            <a:off x="-7536" y="0"/>
            <a:ext cx="12192000" cy="6858000"/>
          </a:xfrm>
          <a:prstGeom prst="rect">
            <a:avLst/>
          </a:prstGeom>
          <a:gradFill>
            <a:gsLst>
              <a:gs pos="0">
                <a:schemeClr val="bg1"/>
              </a:gs>
              <a:gs pos="100000">
                <a:schemeClr val="accent2">
                  <a:alpha val="90000"/>
                </a:schemeClr>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 name="Rectangle 2">
            <a:extLst>
              <a:ext uri="{FF2B5EF4-FFF2-40B4-BE49-F238E27FC236}">
                <a16:creationId xmlns:a16="http://schemas.microsoft.com/office/drawing/2014/main" id="{668EAB0C-27CE-02CD-A064-021FDE75AE83}"/>
              </a:ext>
            </a:extLst>
          </p:cNvPr>
          <p:cNvSpPr/>
          <p:nvPr userDrawn="1"/>
        </p:nvSpPr>
        <p:spPr>
          <a:xfrm>
            <a:off x="0" y="4472608"/>
            <a:ext cx="12192000" cy="2385391"/>
          </a:xfrm>
          <a:prstGeom prst="rect">
            <a:avLst/>
          </a:prstGeom>
          <a:gradFill>
            <a:gsLst>
              <a:gs pos="30000">
                <a:schemeClr val="bg1">
                  <a:alpha val="0"/>
                </a:schemeClr>
              </a:gs>
              <a:gs pos="100000">
                <a:schemeClr val="accent6">
                  <a:alpha val="76978"/>
                </a:schemeClr>
              </a:gs>
              <a:gs pos="83000">
                <a:schemeClr val="accent6">
                  <a:alpha val="46672"/>
                </a:schemeClr>
              </a:gs>
            </a:gsLst>
            <a:lin ang="51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ext Placeholder 2">
            <a:extLst>
              <a:ext uri="{FF2B5EF4-FFF2-40B4-BE49-F238E27FC236}">
                <a16:creationId xmlns:a16="http://schemas.microsoft.com/office/drawing/2014/main" id="{E6C1CEFE-DCAC-56C8-1D27-F530AFE03971}"/>
              </a:ext>
            </a:extLst>
          </p:cNvPr>
          <p:cNvSpPr>
            <a:spLocks noGrp="1"/>
          </p:cNvSpPr>
          <p:nvPr>
            <p:ph type="body" sz="quarter" idx="16" hasCustomPrompt="1"/>
          </p:nvPr>
        </p:nvSpPr>
        <p:spPr>
          <a:xfrm>
            <a:off x="775504" y="480349"/>
            <a:ext cx="10625921" cy="450850"/>
          </a:xfrm>
          <a:prstGeom prst="rect">
            <a:avLst/>
          </a:prstGeom>
          <a:noFill/>
        </p:spPr>
        <p:txBody>
          <a:bodyPr vert="horz" wrap="square" lIns="0" tIns="0" rIns="0" bIns="0" rtlCol="0" anchor="b">
            <a:noAutofit/>
          </a:bodyPr>
          <a:lstStyle>
            <a:lvl1pPr algn="ctr">
              <a:defRPr lang="en-US" sz="1125" b="1" spc="375" dirty="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buNone/>
            </a:pPr>
            <a:r>
              <a:rPr lang="en-US"/>
              <a:t>EYEBROW ABOVE HEADLINE</a:t>
            </a:r>
          </a:p>
        </p:txBody>
      </p:sp>
      <p:sp>
        <p:nvSpPr>
          <p:cNvPr id="4" name="Title 1">
            <a:extLst>
              <a:ext uri="{FF2B5EF4-FFF2-40B4-BE49-F238E27FC236}">
                <a16:creationId xmlns:a16="http://schemas.microsoft.com/office/drawing/2014/main" id="{52CE857B-E960-149F-506E-781A78D6533A}"/>
              </a:ext>
            </a:extLst>
          </p:cNvPr>
          <p:cNvSpPr>
            <a:spLocks noGrp="1"/>
          </p:cNvSpPr>
          <p:nvPr>
            <p:ph type="title" hasCustomPrompt="1"/>
          </p:nvPr>
        </p:nvSpPr>
        <p:spPr>
          <a:xfrm>
            <a:off x="752437" y="1024862"/>
            <a:ext cx="10625921" cy="852627"/>
          </a:xfrm>
          <a:prstGeom prst="rect">
            <a:avLst/>
          </a:prstGeom>
        </p:spPr>
        <p:txBody>
          <a:bodyPr lIns="0" tIns="0" rIns="0" bIns="0" anchor="t"/>
          <a:lstStyle>
            <a:lvl1pPr algn="ctr">
              <a:defRPr lang="en-US" sz="3200" dirty="0">
                <a:solidFill>
                  <a:schemeClr val="tx1"/>
                </a:solidFill>
              </a:defRPr>
            </a:lvl1pPr>
          </a:lstStyle>
          <a:p>
            <a:pPr lvl="0"/>
            <a:r>
              <a:rPr lang="en-US"/>
              <a:t>Type Brief Title Here with Eyebrow if Needed</a:t>
            </a:r>
          </a:p>
        </p:txBody>
      </p:sp>
      <p:sp>
        <p:nvSpPr>
          <p:cNvPr id="7" name="Footer Placeholder 3">
            <a:extLst>
              <a:ext uri="{FF2B5EF4-FFF2-40B4-BE49-F238E27FC236}">
                <a16:creationId xmlns:a16="http://schemas.microsoft.com/office/drawing/2014/main" id="{A450C0E0-24C8-46A8-6A68-F3320624EB73}"/>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4 CAQH, All Rights Reserved. Confidential and Proprietary.</a:t>
            </a:r>
          </a:p>
        </p:txBody>
      </p:sp>
      <p:sp>
        <p:nvSpPr>
          <p:cNvPr id="8" name="Slide Number Placeholder 3">
            <a:extLst>
              <a:ext uri="{FF2B5EF4-FFF2-40B4-BE49-F238E27FC236}">
                <a16:creationId xmlns:a16="http://schemas.microsoft.com/office/drawing/2014/main" id="{AA77B258-FB69-76AC-8A2E-9178B944A86C}"/>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Tree>
    <p:extLst>
      <p:ext uri="{BB962C8B-B14F-4D97-AF65-F5344CB8AC3E}">
        <p14:creationId xmlns:p14="http://schemas.microsoft.com/office/powerpoint/2010/main" val="1667458713"/>
      </p:ext>
    </p:extLst>
  </p:cSld>
  <p:clrMapOvr>
    <a:masterClrMapping/>
  </p:clrMapOvr>
  <p:transition spd="slow" advTm="10000">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Blue-Main-Header">
    <p:bg>
      <p:bgPr>
        <a:gradFill flip="none" rotWithShape="1">
          <a:gsLst>
            <a:gs pos="64000">
              <a:srgbClr val="1462AD"/>
            </a:gs>
            <a:gs pos="12000">
              <a:srgbClr val="22305B"/>
            </a:gs>
          </a:gsLst>
          <a:lin ang="2700000" scaled="1"/>
          <a:tileRect/>
        </a:gradFill>
        <a:effectLst/>
      </p:bgPr>
    </p:bg>
    <p:spTree>
      <p:nvGrpSpPr>
        <p:cNvPr id="1" name=""/>
        <p:cNvGrpSpPr/>
        <p:nvPr/>
      </p:nvGrpSpPr>
      <p:grpSpPr>
        <a:xfrm>
          <a:off x="0" y="0"/>
          <a:ext cx="0" cy="0"/>
          <a:chOff x="0" y="0"/>
          <a:chExt cx="0" cy="0"/>
        </a:xfrm>
      </p:grpSpPr>
      <p:pic>
        <p:nvPicPr>
          <p:cNvPr id="8" name="Picture 7" descr="A black background with dots and lines&#10;&#10;Description automatically generated">
            <a:extLst>
              <a:ext uri="{FF2B5EF4-FFF2-40B4-BE49-F238E27FC236}">
                <a16:creationId xmlns:a16="http://schemas.microsoft.com/office/drawing/2014/main" id="{D2C06058-D7E9-6804-ACEA-0DC4E68D880A}"/>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776" y="0"/>
            <a:ext cx="12190447" cy="6858000"/>
          </a:xfrm>
          <a:prstGeom prst="rect">
            <a:avLst/>
          </a:prstGeom>
        </p:spPr>
      </p:pic>
      <p:pic>
        <p:nvPicPr>
          <p:cNvPr id="3" name="Picture 2" descr="A white text on a black background&#10;&#10;Description automatically generated">
            <a:extLst>
              <a:ext uri="{FF2B5EF4-FFF2-40B4-BE49-F238E27FC236}">
                <a16:creationId xmlns:a16="http://schemas.microsoft.com/office/drawing/2014/main" id="{3F5134BC-AABE-AA5E-5B1E-4487C67B1D84}"/>
              </a:ext>
            </a:extLst>
          </p:cNvPr>
          <p:cNvPicPr>
            <a:picLocks noChangeAspect="1"/>
          </p:cNvPicPr>
          <p:nvPr userDrawn="1"/>
        </p:nvPicPr>
        <p:blipFill>
          <a:blip r:embed="rId3">
            <a:extLst>
              <a:ext uri="{28A0092B-C50C-407E-A947-70E740481C1C}">
                <a14:useLocalDpi xmlns:a14="http://schemas.microsoft.com/office/drawing/2010/main" val="0"/>
              </a:ext>
            </a:extLst>
          </a:blip>
          <a:srcRect l="10977" t="24828" r="17730" b="24598"/>
          <a:stretch/>
        </p:blipFill>
        <p:spPr>
          <a:xfrm>
            <a:off x="539378" y="392351"/>
            <a:ext cx="2078409" cy="600621"/>
          </a:xfrm>
          <a:prstGeom prst="rect">
            <a:avLst/>
          </a:prstGeom>
        </p:spPr>
      </p:pic>
      <p:sp>
        <p:nvSpPr>
          <p:cNvPr id="2" name="Freeform 9">
            <a:extLst>
              <a:ext uri="{FF2B5EF4-FFF2-40B4-BE49-F238E27FC236}">
                <a16:creationId xmlns:a16="http://schemas.microsoft.com/office/drawing/2014/main" id="{B48CCB78-1AD0-A76F-7C89-0897035A06F4}"/>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3502426"/>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5.png"/><Relationship Id="rId5" Type="http://schemas.openxmlformats.org/officeDocument/2006/relationships/slideLayout" Target="../slideLayouts/slideLayout19.xml"/><Relationship Id="rId10"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AE2D6F-88AC-6F6B-9495-DCA87FF3EBEA}"/>
              </a:ext>
            </a:extLst>
          </p:cNvPr>
          <p:cNvSpPr>
            <a:spLocks noGrp="1"/>
          </p:cNvSpPr>
          <p:nvPr>
            <p:ph type="title"/>
          </p:nvPr>
        </p:nvSpPr>
        <p:spPr>
          <a:xfrm>
            <a:off x="423862" y="136525"/>
            <a:ext cx="11342687" cy="744008"/>
          </a:xfrm>
          <a:prstGeom prst="rect">
            <a:avLst/>
          </a:prstGeom>
        </p:spPr>
        <p:txBody>
          <a:bodyPr vert="horz" lIns="0" tIns="0" rIns="0" bIns="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CF19224-0975-B398-659F-C11324532E6C}"/>
              </a:ext>
            </a:extLst>
          </p:cNvPr>
          <p:cNvSpPr>
            <a:spLocks noGrp="1"/>
          </p:cNvSpPr>
          <p:nvPr>
            <p:ph type="body" idx="1"/>
          </p:nvPr>
        </p:nvSpPr>
        <p:spPr>
          <a:xfrm>
            <a:off x="427037" y="1335881"/>
            <a:ext cx="11338560" cy="478231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a:extLst>
              <a:ext uri="{FF2B5EF4-FFF2-40B4-BE49-F238E27FC236}">
                <a16:creationId xmlns:a16="http://schemas.microsoft.com/office/drawing/2014/main" id="{42F014C4-8FB4-93B1-43DF-F79EC0C0B735}"/>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mtClean="0">
                <a:solidFill>
                  <a:schemeClr val="bg1">
                    <a:lumMod val="85000"/>
                  </a:schemeClr>
                </a:solidFill>
              </a:rPr>
              <a:pPr lvl="0"/>
              <a:t>‹#›</a:t>
            </a:fld>
            <a:endParaRPr lang="en-US" dirty="0">
              <a:solidFill>
                <a:schemeClr val="bg1">
                  <a:lumMod val="85000"/>
                </a:schemeClr>
              </a:solidFill>
            </a:endParaRPr>
          </a:p>
        </p:txBody>
      </p:sp>
      <p:sp>
        <p:nvSpPr>
          <p:cNvPr id="6" name="Footer Placeholder 1">
            <a:extLst>
              <a:ext uri="{FF2B5EF4-FFF2-40B4-BE49-F238E27FC236}">
                <a16:creationId xmlns:a16="http://schemas.microsoft.com/office/drawing/2014/main" id="{9BA929D6-B932-2EF1-5B39-EC47BBC39942}"/>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solidFill>
                  <a:schemeClr val="bg1">
                    <a:lumMod val="85000"/>
                  </a:schemeClr>
                </a:solidFill>
              </a:rPr>
              <a:t>© 2024 CAQH, All Rights Reserved. Confidential and Proprietary.</a:t>
            </a:r>
          </a:p>
        </p:txBody>
      </p:sp>
    </p:spTree>
    <p:extLst>
      <p:ext uri="{BB962C8B-B14F-4D97-AF65-F5344CB8AC3E}">
        <p14:creationId xmlns:p14="http://schemas.microsoft.com/office/powerpoint/2010/main" val="220686395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80" r:id="rId6"/>
    <p:sldLayoutId id="2147483681" r:id="rId7"/>
    <p:sldLayoutId id="2147483734" r:id="rId8"/>
    <p:sldLayoutId id="2147483750" r:id="rId9"/>
    <p:sldLayoutId id="2147483768" r:id="rId10"/>
    <p:sldLayoutId id="2147483769" r:id="rId11"/>
    <p:sldLayoutId id="2147483766" r:id="rId12"/>
    <p:sldLayoutId id="2147483767" r:id="rId13"/>
    <p:sldLayoutId id="2147483770" r:id="rId14"/>
  </p:sldLayoutIdLst>
  <p:transition spd="slow">
    <p:push dir="u"/>
  </p:transition>
  <p:hf hd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8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439738" indent="-236538"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654050" indent="-225425" algn="l" defTabSz="914400" rtl="0" eaLnBrk="1" latinLnBrk="0" hangingPunct="1">
        <a:lnSpc>
          <a:spcPct val="90000"/>
        </a:lnSpc>
        <a:spcBef>
          <a:spcPts val="800"/>
        </a:spcBef>
        <a:buFont typeface="Arial" panose="020B0604020202020204" pitchFamily="34" charset="0"/>
        <a:buChar char="&gt;"/>
        <a:defRPr sz="1400" kern="1200">
          <a:solidFill>
            <a:schemeClr val="tx1"/>
          </a:solidFill>
          <a:latin typeface="+mn-lt"/>
          <a:ea typeface="+mn-ea"/>
          <a:cs typeface="+mn-cs"/>
        </a:defRPr>
      </a:lvl3pPr>
      <a:lvl4pPr marL="857250" indent="-225425" algn="l" defTabSz="914400" rtl="0" eaLnBrk="1" latinLnBrk="0" hangingPunct="1">
        <a:lnSpc>
          <a:spcPct val="90000"/>
        </a:lnSpc>
        <a:spcBef>
          <a:spcPts val="800"/>
        </a:spcBef>
        <a:buFont typeface="Arial" panose="020B0604020202020204" pitchFamily="34" charset="0"/>
        <a:buChar char="–"/>
        <a:defRPr sz="1200" kern="1200">
          <a:solidFill>
            <a:schemeClr val="tx1"/>
          </a:solidFill>
          <a:latin typeface="+mn-lt"/>
          <a:ea typeface="+mn-ea"/>
          <a:cs typeface="+mn-cs"/>
        </a:defRPr>
      </a:lvl4pPr>
      <a:lvl5pPr marL="1027113" indent="-169863" algn="l" defTabSz="914400" rtl="0" eaLnBrk="1" latinLnBrk="0" hangingPunct="1">
        <a:lnSpc>
          <a:spcPct val="90000"/>
        </a:lnSpc>
        <a:spcBef>
          <a:spcPts val="8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7">
          <p15:clr>
            <a:srgbClr val="F26B43"/>
          </p15:clr>
        </p15:guide>
        <p15:guide id="2" orient="horz" pos="3854">
          <p15:clr>
            <a:srgbClr val="F26B43"/>
          </p15:clr>
        </p15:guide>
        <p15:guide id="3" pos="7412">
          <p15:clr>
            <a:srgbClr val="F26B43"/>
          </p15:clr>
        </p15:guide>
        <p15:guide id="4"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AE2D6F-88AC-6F6B-9495-DCA87FF3EBEA}"/>
              </a:ext>
            </a:extLst>
          </p:cNvPr>
          <p:cNvSpPr>
            <a:spLocks noGrp="1"/>
          </p:cNvSpPr>
          <p:nvPr>
            <p:ph type="title"/>
          </p:nvPr>
        </p:nvSpPr>
        <p:spPr>
          <a:xfrm>
            <a:off x="423862" y="136525"/>
            <a:ext cx="11342687" cy="744008"/>
          </a:xfrm>
          <a:prstGeom prst="rect">
            <a:avLst/>
          </a:prstGeom>
        </p:spPr>
        <p:txBody>
          <a:bodyPr vert="horz" lIns="0" tIns="0" rIns="0" bIns="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CF19224-0975-B398-659F-C11324532E6C}"/>
              </a:ext>
            </a:extLst>
          </p:cNvPr>
          <p:cNvSpPr>
            <a:spLocks noGrp="1"/>
          </p:cNvSpPr>
          <p:nvPr>
            <p:ph type="body" idx="1"/>
          </p:nvPr>
        </p:nvSpPr>
        <p:spPr>
          <a:xfrm>
            <a:off x="427037" y="1335881"/>
            <a:ext cx="11338560" cy="478231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EA4441FD-17AC-49D6-47C6-31FF375EAC81}"/>
              </a:ext>
            </a:extLst>
          </p:cNvPr>
          <p:cNvGrpSpPr>
            <a:grpSpLocks noChangeAspect="1"/>
          </p:cNvGrpSpPr>
          <p:nvPr userDrawn="1"/>
        </p:nvGrpSpPr>
        <p:grpSpPr>
          <a:xfrm>
            <a:off x="10846593" y="6338642"/>
            <a:ext cx="988219" cy="234274"/>
            <a:chOff x="6364288" y="-1019175"/>
            <a:chExt cx="3529013" cy="836613"/>
          </a:xfrm>
        </p:grpSpPr>
        <p:sp>
          <p:nvSpPr>
            <p:cNvPr id="12" name="Freeform 5">
              <a:extLst>
                <a:ext uri="{FF2B5EF4-FFF2-40B4-BE49-F238E27FC236}">
                  <a16:creationId xmlns:a16="http://schemas.microsoft.com/office/drawing/2014/main" id="{BAC2E833-25E6-29A6-B6CA-954FAC541348}"/>
                </a:ext>
              </a:extLst>
            </p:cNvPr>
            <p:cNvSpPr>
              <a:spLocks/>
            </p:cNvSpPr>
            <p:nvPr userDrawn="1"/>
          </p:nvSpPr>
          <p:spPr bwMode="auto">
            <a:xfrm>
              <a:off x="6364288" y="-1019175"/>
              <a:ext cx="738188" cy="836613"/>
            </a:xfrm>
            <a:custGeom>
              <a:avLst/>
              <a:gdLst>
                <a:gd name="T0" fmla="*/ 0 w 415"/>
                <a:gd name="T1" fmla="*/ 236 h 469"/>
                <a:gd name="T2" fmla="*/ 0 w 415"/>
                <a:gd name="T3" fmla="*/ 235 h 469"/>
                <a:gd name="T4" fmla="*/ 234 w 415"/>
                <a:gd name="T5" fmla="*/ 0 h 469"/>
                <a:gd name="T6" fmla="*/ 412 w 415"/>
                <a:gd name="T7" fmla="*/ 70 h 469"/>
                <a:gd name="T8" fmla="*/ 361 w 415"/>
                <a:gd name="T9" fmla="*/ 129 h 469"/>
                <a:gd name="T10" fmla="*/ 234 w 415"/>
                <a:gd name="T11" fmla="*/ 73 h 469"/>
                <a:gd name="T12" fmla="*/ 84 w 415"/>
                <a:gd name="T13" fmla="*/ 233 h 469"/>
                <a:gd name="T14" fmla="*/ 84 w 415"/>
                <a:gd name="T15" fmla="*/ 235 h 469"/>
                <a:gd name="T16" fmla="*/ 234 w 415"/>
                <a:gd name="T17" fmla="*/ 395 h 469"/>
                <a:gd name="T18" fmla="*/ 364 w 415"/>
                <a:gd name="T19" fmla="*/ 337 h 469"/>
                <a:gd name="T20" fmla="*/ 415 w 415"/>
                <a:gd name="T21" fmla="*/ 389 h 469"/>
                <a:gd name="T22" fmla="*/ 231 w 415"/>
                <a:gd name="T23" fmla="*/ 469 h 469"/>
                <a:gd name="T24" fmla="*/ 0 w 415"/>
                <a:gd name="T25"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5" h="469">
                  <a:moveTo>
                    <a:pt x="0" y="236"/>
                  </a:moveTo>
                  <a:cubicBezTo>
                    <a:pt x="0" y="235"/>
                    <a:pt x="0" y="235"/>
                    <a:pt x="0" y="235"/>
                  </a:cubicBezTo>
                  <a:cubicBezTo>
                    <a:pt x="0" y="105"/>
                    <a:pt x="97" y="0"/>
                    <a:pt x="234" y="0"/>
                  </a:cubicBezTo>
                  <a:cubicBezTo>
                    <a:pt x="318" y="0"/>
                    <a:pt x="369" y="29"/>
                    <a:pt x="412" y="70"/>
                  </a:cubicBezTo>
                  <a:cubicBezTo>
                    <a:pt x="361" y="129"/>
                    <a:pt x="361" y="129"/>
                    <a:pt x="361" y="129"/>
                  </a:cubicBezTo>
                  <a:cubicBezTo>
                    <a:pt x="325" y="96"/>
                    <a:pt x="286" y="73"/>
                    <a:pt x="234" y="73"/>
                  </a:cubicBezTo>
                  <a:cubicBezTo>
                    <a:pt x="147" y="73"/>
                    <a:pt x="84" y="144"/>
                    <a:pt x="84" y="233"/>
                  </a:cubicBezTo>
                  <a:cubicBezTo>
                    <a:pt x="84" y="235"/>
                    <a:pt x="84" y="235"/>
                    <a:pt x="84" y="235"/>
                  </a:cubicBezTo>
                  <a:cubicBezTo>
                    <a:pt x="84" y="323"/>
                    <a:pt x="147" y="395"/>
                    <a:pt x="234" y="395"/>
                  </a:cubicBezTo>
                  <a:cubicBezTo>
                    <a:pt x="290" y="395"/>
                    <a:pt x="325" y="373"/>
                    <a:pt x="364" y="337"/>
                  </a:cubicBezTo>
                  <a:cubicBezTo>
                    <a:pt x="415" y="389"/>
                    <a:pt x="415" y="389"/>
                    <a:pt x="415" y="389"/>
                  </a:cubicBezTo>
                  <a:cubicBezTo>
                    <a:pt x="368" y="438"/>
                    <a:pt x="316" y="469"/>
                    <a:pt x="231" y="469"/>
                  </a:cubicBezTo>
                  <a:cubicBezTo>
                    <a:pt x="99" y="469"/>
                    <a:pt x="0" y="366"/>
                    <a:pt x="0"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02474600-E5BF-F797-D513-229923BA3404}"/>
                </a:ext>
              </a:extLst>
            </p:cNvPr>
            <p:cNvSpPr>
              <a:spLocks/>
            </p:cNvSpPr>
            <p:nvPr userDrawn="1"/>
          </p:nvSpPr>
          <p:spPr bwMode="auto">
            <a:xfrm>
              <a:off x="8983663" y="-1006475"/>
              <a:ext cx="669925" cy="811213"/>
            </a:xfrm>
            <a:custGeom>
              <a:avLst/>
              <a:gdLst>
                <a:gd name="T0" fmla="*/ 0 w 422"/>
                <a:gd name="T1" fmla="*/ 0 h 511"/>
                <a:gd name="T2" fmla="*/ 89 w 422"/>
                <a:gd name="T3" fmla="*/ 0 h 511"/>
                <a:gd name="T4" fmla="*/ 89 w 422"/>
                <a:gd name="T5" fmla="*/ 212 h 511"/>
                <a:gd name="T6" fmla="*/ 332 w 422"/>
                <a:gd name="T7" fmla="*/ 212 h 511"/>
                <a:gd name="T8" fmla="*/ 332 w 422"/>
                <a:gd name="T9" fmla="*/ 0 h 511"/>
                <a:gd name="T10" fmla="*/ 422 w 422"/>
                <a:gd name="T11" fmla="*/ 0 h 511"/>
                <a:gd name="T12" fmla="*/ 422 w 422"/>
                <a:gd name="T13" fmla="*/ 511 h 511"/>
                <a:gd name="T14" fmla="*/ 332 w 422"/>
                <a:gd name="T15" fmla="*/ 511 h 511"/>
                <a:gd name="T16" fmla="*/ 332 w 422"/>
                <a:gd name="T17" fmla="*/ 295 h 511"/>
                <a:gd name="T18" fmla="*/ 89 w 422"/>
                <a:gd name="T19" fmla="*/ 295 h 511"/>
                <a:gd name="T20" fmla="*/ 89 w 422"/>
                <a:gd name="T21" fmla="*/ 511 h 511"/>
                <a:gd name="T22" fmla="*/ 0 w 422"/>
                <a:gd name="T23" fmla="*/ 511 h 511"/>
                <a:gd name="T24" fmla="*/ 0 w 422"/>
                <a:gd name="T25"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2" h="511">
                  <a:moveTo>
                    <a:pt x="0" y="0"/>
                  </a:moveTo>
                  <a:lnTo>
                    <a:pt x="89" y="0"/>
                  </a:lnTo>
                  <a:lnTo>
                    <a:pt x="89" y="212"/>
                  </a:lnTo>
                  <a:lnTo>
                    <a:pt x="332" y="212"/>
                  </a:lnTo>
                  <a:lnTo>
                    <a:pt x="332" y="0"/>
                  </a:lnTo>
                  <a:lnTo>
                    <a:pt x="422" y="0"/>
                  </a:lnTo>
                  <a:lnTo>
                    <a:pt x="422" y="511"/>
                  </a:lnTo>
                  <a:lnTo>
                    <a:pt x="332" y="511"/>
                  </a:lnTo>
                  <a:lnTo>
                    <a:pt x="332" y="295"/>
                  </a:lnTo>
                  <a:lnTo>
                    <a:pt x="89" y="295"/>
                  </a:lnTo>
                  <a:lnTo>
                    <a:pt x="89" y="511"/>
                  </a:lnTo>
                  <a:lnTo>
                    <a:pt x="0" y="511"/>
                  </a:lnTo>
                  <a:lnTo>
                    <a:pt x="0" y="0"/>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6A283340-57BD-3D68-CF6A-B939CC40597A}"/>
                </a:ext>
              </a:extLst>
            </p:cNvPr>
            <p:cNvSpPr>
              <a:spLocks noEditPoints="1"/>
            </p:cNvSpPr>
            <p:nvPr userDrawn="1"/>
          </p:nvSpPr>
          <p:spPr bwMode="auto">
            <a:xfrm>
              <a:off x="7974013" y="-1019175"/>
              <a:ext cx="846138" cy="836613"/>
            </a:xfrm>
            <a:custGeom>
              <a:avLst/>
              <a:gdLst>
                <a:gd name="T0" fmla="*/ 0 w 475"/>
                <a:gd name="T1" fmla="*/ 236 h 469"/>
                <a:gd name="T2" fmla="*/ 0 w 475"/>
                <a:gd name="T3" fmla="*/ 235 h 469"/>
                <a:gd name="T4" fmla="*/ 238 w 475"/>
                <a:gd name="T5" fmla="*/ 0 h 469"/>
                <a:gd name="T6" fmla="*/ 475 w 475"/>
                <a:gd name="T7" fmla="*/ 233 h 469"/>
                <a:gd name="T8" fmla="*/ 475 w 475"/>
                <a:gd name="T9" fmla="*/ 235 h 469"/>
                <a:gd name="T10" fmla="*/ 237 w 475"/>
                <a:gd name="T11" fmla="*/ 469 h 469"/>
                <a:gd name="T12" fmla="*/ 0 w 475"/>
                <a:gd name="T13" fmla="*/ 236 h 469"/>
                <a:gd name="T14" fmla="*/ 391 w 475"/>
                <a:gd name="T15" fmla="*/ 236 h 469"/>
                <a:gd name="T16" fmla="*/ 391 w 475"/>
                <a:gd name="T17" fmla="*/ 235 h 469"/>
                <a:gd name="T18" fmla="*/ 237 w 475"/>
                <a:gd name="T19" fmla="*/ 73 h 469"/>
                <a:gd name="T20" fmla="*/ 84 w 475"/>
                <a:gd name="T21" fmla="*/ 233 h 469"/>
                <a:gd name="T22" fmla="*/ 84 w 475"/>
                <a:gd name="T23" fmla="*/ 235 h 469"/>
                <a:gd name="T24" fmla="*/ 238 w 475"/>
                <a:gd name="T25" fmla="*/ 395 h 469"/>
                <a:gd name="T26" fmla="*/ 391 w 475"/>
                <a:gd name="T27" fmla="*/ 23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5" h="469">
                  <a:moveTo>
                    <a:pt x="0" y="236"/>
                  </a:moveTo>
                  <a:cubicBezTo>
                    <a:pt x="0" y="235"/>
                    <a:pt x="0" y="235"/>
                    <a:pt x="0" y="235"/>
                  </a:cubicBezTo>
                  <a:cubicBezTo>
                    <a:pt x="0" y="107"/>
                    <a:pt x="99" y="0"/>
                    <a:pt x="238" y="0"/>
                  </a:cubicBezTo>
                  <a:cubicBezTo>
                    <a:pt x="378" y="0"/>
                    <a:pt x="475" y="105"/>
                    <a:pt x="475" y="233"/>
                  </a:cubicBezTo>
                  <a:cubicBezTo>
                    <a:pt x="475" y="235"/>
                    <a:pt x="475" y="235"/>
                    <a:pt x="475" y="235"/>
                  </a:cubicBezTo>
                  <a:cubicBezTo>
                    <a:pt x="475" y="362"/>
                    <a:pt x="376" y="469"/>
                    <a:pt x="237" y="469"/>
                  </a:cubicBezTo>
                  <a:cubicBezTo>
                    <a:pt x="97" y="469"/>
                    <a:pt x="0" y="364"/>
                    <a:pt x="0" y="236"/>
                  </a:cubicBezTo>
                  <a:close/>
                  <a:moveTo>
                    <a:pt x="391" y="236"/>
                  </a:moveTo>
                  <a:cubicBezTo>
                    <a:pt x="391" y="235"/>
                    <a:pt x="391" y="235"/>
                    <a:pt x="391" y="235"/>
                  </a:cubicBezTo>
                  <a:cubicBezTo>
                    <a:pt x="391" y="146"/>
                    <a:pt x="327" y="73"/>
                    <a:pt x="237" y="73"/>
                  </a:cubicBezTo>
                  <a:cubicBezTo>
                    <a:pt x="147" y="73"/>
                    <a:pt x="84" y="145"/>
                    <a:pt x="84" y="233"/>
                  </a:cubicBezTo>
                  <a:cubicBezTo>
                    <a:pt x="84" y="235"/>
                    <a:pt x="84" y="235"/>
                    <a:pt x="84" y="235"/>
                  </a:cubicBezTo>
                  <a:cubicBezTo>
                    <a:pt x="84" y="323"/>
                    <a:pt x="148" y="395"/>
                    <a:pt x="238" y="395"/>
                  </a:cubicBezTo>
                  <a:cubicBezTo>
                    <a:pt x="328" y="395"/>
                    <a:pt x="391" y="324"/>
                    <a:pt x="391" y="236"/>
                  </a:cubicBez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5" name="Picture 8">
              <a:extLst>
                <a:ext uri="{FF2B5EF4-FFF2-40B4-BE49-F238E27FC236}">
                  <a16:creationId xmlns:a16="http://schemas.microsoft.com/office/drawing/2014/main" id="{BC62E5F2-A817-C05D-F4DF-1DEF46FD9509}"/>
                </a:ext>
              </a:extLst>
            </p:cNvPr>
            <p:cNvPicPr>
              <a:picLocks noChangeAspect="1" noChangeArrowheads="1"/>
            </p:cNvPicPr>
            <p:nvPr userDrawn="1"/>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94538" y="-1012825"/>
              <a:ext cx="1804988"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Freeform 9">
              <a:extLst>
                <a:ext uri="{FF2B5EF4-FFF2-40B4-BE49-F238E27FC236}">
                  <a16:creationId xmlns:a16="http://schemas.microsoft.com/office/drawing/2014/main" id="{53D541A3-3D82-2D2C-43C0-4044CF2C1110}"/>
                </a:ext>
              </a:extLst>
            </p:cNvPr>
            <p:cNvSpPr>
              <a:spLocks/>
            </p:cNvSpPr>
            <p:nvPr userDrawn="1"/>
          </p:nvSpPr>
          <p:spPr bwMode="auto">
            <a:xfrm>
              <a:off x="9807576" y="-279400"/>
              <a:ext cx="85725" cy="84138"/>
            </a:xfrm>
            <a:custGeom>
              <a:avLst/>
              <a:gdLst>
                <a:gd name="T0" fmla="*/ 7 w 54"/>
                <a:gd name="T1" fmla="*/ 13 h 53"/>
                <a:gd name="T2" fmla="*/ 7 w 54"/>
                <a:gd name="T3" fmla="*/ 53 h 53"/>
                <a:gd name="T4" fmla="*/ 0 w 54"/>
                <a:gd name="T5" fmla="*/ 53 h 53"/>
                <a:gd name="T6" fmla="*/ 0 w 54"/>
                <a:gd name="T7" fmla="*/ 0 h 53"/>
                <a:gd name="T8" fmla="*/ 8 w 54"/>
                <a:gd name="T9" fmla="*/ 0 h 53"/>
                <a:gd name="T10" fmla="*/ 27 w 54"/>
                <a:gd name="T11" fmla="*/ 31 h 53"/>
                <a:gd name="T12" fmla="*/ 46 w 54"/>
                <a:gd name="T13" fmla="*/ 0 h 53"/>
                <a:gd name="T14" fmla="*/ 54 w 54"/>
                <a:gd name="T15" fmla="*/ 0 h 53"/>
                <a:gd name="T16" fmla="*/ 54 w 54"/>
                <a:gd name="T17" fmla="*/ 53 h 53"/>
                <a:gd name="T18" fmla="*/ 46 w 54"/>
                <a:gd name="T19" fmla="*/ 53 h 53"/>
                <a:gd name="T20" fmla="*/ 46 w 54"/>
                <a:gd name="T21" fmla="*/ 13 h 53"/>
                <a:gd name="T22" fmla="*/ 27 w 54"/>
                <a:gd name="T23" fmla="*/ 43 h 53"/>
                <a:gd name="T24" fmla="*/ 7 w 54"/>
                <a:gd name="T25"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7" y="13"/>
                  </a:moveTo>
                  <a:lnTo>
                    <a:pt x="7" y="53"/>
                  </a:lnTo>
                  <a:lnTo>
                    <a:pt x="0" y="53"/>
                  </a:lnTo>
                  <a:lnTo>
                    <a:pt x="0" y="0"/>
                  </a:lnTo>
                  <a:lnTo>
                    <a:pt x="8" y="0"/>
                  </a:lnTo>
                  <a:lnTo>
                    <a:pt x="27" y="31"/>
                  </a:lnTo>
                  <a:lnTo>
                    <a:pt x="46" y="0"/>
                  </a:lnTo>
                  <a:lnTo>
                    <a:pt x="54" y="0"/>
                  </a:lnTo>
                  <a:lnTo>
                    <a:pt x="54" y="53"/>
                  </a:lnTo>
                  <a:lnTo>
                    <a:pt x="46" y="53"/>
                  </a:lnTo>
                  <a:lnTo>
                    <a:pt x="46" y="13"/>
                  </a:lnTo>
                  <a:lnTo>
                    <a:pt x="27" y="43"/>
                  </a:lnTo>
                  <a:lnTo>
                    <a:pt x="7"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710053E0-F196-610F-0399-2E1E8878A7D6}"/>
                </a:ext>
              </a:extLst>
            </p:cNvPr>
            <p:cNvSpPr>
              <a:spLocks/>
            </p:cNvSpPr>
            <p:nvPr userDrawn="1"/>
          </p:nvSpPr>
          <p:spPr bwMode="auto">
            <a:xfrm>
              <a:off x="9729788" y="-282575"/>
              <a:ext cx="63500" cy="93663"/>
            </a:xfrm>
            <a:custGeom>
              <a:avLst/>
              <a:gdLst>
                <a:gd name="T0" fmla="*/ 29 w 36"/>
                <a:gd name="T1" fmla="*/ 13 h 52"/>
                <a:gd name="T2" fmla="*/ 24 w 36"/>
                <a:gd name="T3" fmla="*/ 9 h 52"/>
                <a:gd name="T4" fmla="*/ 10 w 36"/>
                <a:gd name="T5" fmla="*/ 9 h 52"/>
                <a:gd name="T6" fmla="*/ 10 w 36"/>
                <a:gd name="T7" fmla="*/ 18 h 52"/>
                <a:gd name="T8" fmla="*/ 15 w 36"/>
                <a:gd name="T9" fmla="*/ 20 h 52"/>
                <a:gd name="T10" fmla="*/ 27 w 36"/>
                <a:gd name="T11" fmla="*/ 25 h 52"/>
                <a:gd name="T12" fmla="*/ 32 w 36"/>
                <a:gd name="T13" fmla="*/ 29 h 52"/>
                <a:gd name="T14" fmla="*/ 30 w 36"/>
                <a:gd name="T15" fmla="*/ 46 h 52"/>
                <a:gd name="T16" fmla="*/ 0 w 36"/>
                <a:gd name="T17" fmla="*/ 42 h 52"/>
                <a:gd name="T18" fmla="*/ 4 w 36"/>
                <a:gd name="T19" fmla="*/ 37 h 52"/>
                <a:gd name="T20" fmla="*/ 25 w 36"/>
                <a:gd name="T21" fmla="*/ 41 h 52"/>
                <a:gd name="T22" fmla="*/ 24 w 36"/>
                <a:gd name="T23" fmla="*/ 31 h 52"/>
                <a:gd name="T24" fmla="*/ 18 w 36"/>
                <a:gd name="T25" fmla="*/ 28 h 52"/>
                <a:gd name="T26" fmla="*/ 4 w 36"/>
                <a:gd name="T27" fmla="*/ 21 h 52"/>
                <a:gd name="T28" fmla="*/ 6 w 36"/>
                <a:gd name="T29" fmla="*/ 5 h 52"/>
                <a:gd name="T30" fmla="*/ 27 w 36"/>
                <a:gd name="T31" fmla="*/ 3 h 52"/>
                <a:gd name="T32" fmla="*/ 33 w 36"/>
                <a:gd name="T33" fmla="*/ 8 h 52"/>
                <a:gd name="T34" fmla="*/ 29 w 36"/>
                <a:gd name="T35" fmla="*/ 1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52">
                  <a:moveTo>
                    <a:pt x="29" y="13"/>
                  </a:moveTo>
                  <a:cubicBezTo>
                    <a:pt x="28" y="11"/>
                    <a:pt x="26" y="10"/>
                    <a:pt x="24" y="9"/>
                  </a:cubicBezTo>
                  <a:cubicBezTo>
                    <a:pt x="20" y="7"/>
                    <a:pt x="14" y="7"/>
                    <a:pt x="10" y="9"/>
                  </a:cubicBezTo>
                  <a:cubicBezTo>
                    <a:pt x="7" y="11"/>
                    <a:pt x="7" y="16"/>
                    <a:pt x="10" y="18"/>
                  </a:cubicBezTo>
                  <a:cubicBezTo>
                    <a:pt x="11" y="19"/>
                    <a:pt x="13" y="20"/>
                    <a:pt x="15" y="20"/>
                  </a:cubicBezTo>
                  <a:cubicBezTo>
                    <a:pt x="19" y="22"/>
                    <a:pt x="24" y="23"/>
                    <a:pt x="27" y="25"/>
                  </a:cubicBezTo>
                  <a:cubicBezTo>
                    <a:pt x="29" y="26"/>
                    <a:pt x="31" y="27"/>
                    <a:pt x="32" y="29"/>
                  </a:cubicBezTo>
                  <a:cubicBezTo>
                    <a:pt x="36" y="34"/>
                    <a:pt x="34" y="42"/>
                    <a:pt x="30" y="46"/>
                  </a:cubicBezTo>
                  <a:cubicBezTo>
                    <a:pt x="22" y="52"/>
                    <a:pt x="5" y="50"/>
                    <a:pt x="0" y="42"/>
                  </a:cubicBezTo>
                  <a:cubicBezTo>
                    <a:pt x="4" y="37"/>
                    <a:pt x="4" y="37"/>
                    <a:pt x="4" y="37"/>
                  </a:cubicBezTo>
                  <a:cubicBezTo>
                    <a:pt x="8" y="43"/>
                    <a:pt x="19" y="45"/>
                    <a:pt x="25" y="41"/>
                  </a:cubicBezTo>
                  <a:cubicBezTo>
                    <a:pt x="28" y="39"/>
                    <a:pt x="28" y="34"/>
                    <a:pt x="24" y="31"/>
                  </a:cubicBezTo>
                  <a:cubicBezTo>
                    <a:pt x="23" y="30"/>
                    <a:pt x="20" y="29"/>
                    <a:pt x="18" y="28"/>
                  </a:cubicBezTo>
                  <a:cubicBezTo>
                    <a:pt x="13" y="26"/>
                    <a:pt x="7" y="25"/>
                    <a:pt x="4" y="21"/>
                  </a:cubicBezTo>
                  <a:cubicBezTo>
                    <a:pt x="0" y="17"/>
                    <a:pt x="0" y="8"/>
                    <a:pt x="6" y="5"/>
                  </a:cubicBezTo>
                  <a:cubicBezTo>
                    <a:pt x="11" y="1"/>
                    <a:pt x="21" y="0"/>
                    <a:pt x="27" y="3"/>
                  </a:cubicBezTo>
                  <a:cubicBezTo>
                    <a:pt x="30" y="5"/>
                    <a:pt x="32" y="6"/>
                    <a:pt x="33" y="8"/>
                  </a:cubicBezTo>
                  <a:lnTo>
                    <a:pt x="29" y="13"/>
                  </a:lnTo>
                  <a:close/>
                </a:path>
              </a:pathLst>
            </a:custGeom>
            <a:solidFill>
              <a:srgbClr val="005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Footer Placeholder 3">
            <a:extLst>
              <a:ext uri="{FF2B5EF4-FFF2-40B4-BE49-F238E27FC236}">
                <a16:creationId xmlns:a16="http://schemas.microsoft.com/office/drawing/2014/main" id="{EB5544A1-C7DC-32E3-9760-352848006ABE}"/>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lumMod val="65000"/>
                  </a:schemeClr>
                </a:solidFill>
              </a:rPr>
              <a:t>© 2024 CAQH, All Rights Reserved. Confidential and Proprietary.</a:t>
            </a:r>
          </a:p>
        </p:txBody>
      </p:sp>
      <p:sp>
        <p:nvSpPr>
          <p:cNvPr id="6" name="Slide Number Placeholder 3">
            <a:extLst>
              <a:ext uri="{FF2B5EF4-FFF2-40B4-BE49-F238E27FC236}">
                <a16:creationId xmlns:a16="http://schemas.microsoft.com/office/drawing/2014/main" id="{8B41FC64-06AF-EA4E-19BB-D5FC5A9EE81B}"/>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lumMod val="65000"/>
                  </a:schemeClr>
                </a:solidFill>
              </a:rPr>
              <a:pPr lvl="0"/>
              <a:t>‹#›</a:t>
            </a:fld>
            <a:endParaRPr lang="en-US" sz="700">
              <a:solidFill>
                <a:schemeClr val="bg1">
                  <a:lumMod val="65000"/>
                </a:schemeClr>
              </a:solidFill>
            </a:endParaRPr>
          </a:p>
        </p:txBody>
      </p:sp>
    </p:spTree>
    <p:extLst>
      <p:ext uri="{BB962C8B-B14F-4D97-AF65-F5344CB8AC3E}">
        <p14:creationId xmlns:p14="http://schemas.microsoft.com/office/powerpoint/2010/main" val="492502400"/>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60" r:id="rId8"/>
    <p:sldLayoutId id="2147483761" r:id="rId9"/>
  </p:sldLayoutIdLst>
  <p:hf hd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8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439738" indent="-236538"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654050" indent="-225425" algn="l" defTabSz="914400" rtl="0" eaLnBrk="1" latinLnBrk="0" hangingPunct="1">
        <a:lnSpc>
          <a:spcPct val="90000"/>
        </a:lnSpc>
        <a:spcBef>
          <a:spcPts val="800"/>
        </a:spcBef>
        <a:buFont typeface="Arial" panose="020B0604020202020204" pitchFamily="34" charset="0"/>
        <a:buChar char="&gt;"/>
        <a:defRPr sz="1400" kern="1200">
          <a:solidFill>
            <a:schemeClr val="tx1"/>
          </a:solidFill>
          <a:latin typeface="+mn-lt"/>
          <a:ea typeface="+mn-ea"/>
          <a:cs typeface="+mn-cs"/>
        </a:defRPr>
      </a:lvl3pPr>
      <a:lvl4pPr marL="857250" indent="-225425" algn="l" defTabSz="914400" rtl="0" eaLnBrk="1" latinLnBrk="0" hangingPunct="1">
        <a:lnSpc>
          <a:spcPct val="90000"/>
        </a:lnSpc>
        <a:spcBef>
          <a:spcPts val="800"/>
        </a:spcBef>
        <a:buFont typeface="Arial" panose="020B0604020202020204" pitchFamily="34" charset="0"/>
        <a:buChar char="–"/>
        <a:defRPr sz="1200" kern="1200">
          <a:solidFill>
            <a:schemeClr val="tx1"/>
          </a:solidFill>
          <a:latin typeface="+mn-lt"/>
          <a:ea typeface="+mn-ea"/>
          <a:cs typeface="+mn-cs"/>
        </a:defRPr>
      </a:lvl4pPr>
      <a:lvl5pPr marL="1027113" indent="-169863" algn="l" defTabSz="914400" rtl="0" eaLnBrk="1" latinLnBrk="0" hangingPunct="1">
        <a:lnSpc>
          <a:spcPct val="90000"/>
        </a:lnSpc>
        <a:spcBef>
          <a:spcPts val="8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7">
          <p15:clr>
            <a:srgbClr val="F26B43"/>
          </p15:clr>
        </p15:guide>
        <p15:guide id="2" orient="horz" pos="3854">
          <p15:clr>
            <a:srgbClr val="F26B43"/>
          </p15:clr>
        </p15:guide>
        <p15:guide id="3" pos="7412">
          <p15:clr>
            <a:srgbClr val="F26B43"/>
          </p15:clr>
        </p15:guide>
        <p15:guide id="4" orient="horz" pos="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 Id="rId5" Type="http://schemas.openxmlformats.org/officeDocument/2006/relationships/image" Target="../media/image15.jpg"/><Relationship Id="rId4" Type="http://schemas.openxmlformats.org/officeDocument/2006/relationships/image" Target="../media/image14.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22.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hyperlink" Target="mailto:events@caqh.org" TargetMode="External"/><Relationship Id="rId4" Type="http://schemas.openxmlformats.org/officeDocument/2006/relationships/image" Target="../media/image24.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12">
            <a:extLst>
              <a:ext uri="{FF2B5EF4-FFF2-40B4-BE49-F238E27FC236}">
                <a16:creationId xmlns:a16="http://schemas.microsoft.com/office/drawing/2014/main" id="{CC7F3CEE-8A65-0811-BB49-CB8521B39312}"/>
              </a:ext>
            </a:extLst>
          </p:cNvPr>
          <p:cNvSpPr txBox="1"/>
          <p:nvPr/>
        </p:nvSpPr>
        <p:spPr>
          <a:xfrm>
            <a:off x="383932" y="1767277"/>
            <a:ext cx="6114522" cy="2588915"/>
          </a:xfrm>
          <a:prstGeom prst="rect">
            <a:avLst/>
          </a:prstGeom>
        </p:spPr>
        <p:txBody>
          <a:bodyPr vert="horz" wrap="square" lIns="0" tIns="125477" rIns="0" bIns="0" rtlCol="0">
            <a:spAutoFit/>
          </a:bodyPr>
          <a:lstStyle/>
          <a:p>
            <a:pPr marL="10159" marR="4064">
              <a:lnSpc>
                <a:spcPts val="4800"/>
              </a:lnSpc>
            </a:pPr>
            <a:r>
              <a:rPr lang="en-US" sz="4000" b="1" spc="-56" dirty="0">
                <a:solidFill>
                  <a:srgbClr val="00CAEF"/>
                </a:solidFill>
                <a:latin typeface="+mj-lt"/>
              </a:rPr>
              <a:t>Mastering the </a:t>
            </a:r>
          </a:p>
          <a:p>
            <a:pPr marL="10159" marR="4064">
              <a:lnSpc>
                <a:spcPts val="4800"/>
              </a:lnSpc>
            </a:pPr>
            <a:r>
              <a:rPr lang="en-US" sz="4000" b="1" spc="-56" dirty="0">
                <a:solidFill>
                  <a:srgbClr val="00CAEF"/>
                </a:solidFill>
                <a:latin typeface="+mj-lt"/>
              </a:rPr>
              <a:t>Simple Stuff: </a:t>
            </a:r>
            <a:br>
              <a:rPr lang="en-US" sz="4000" b="1" spc="-56" dirty="0">
                <a:solidFill>
                  <a:srgbClr val="00CAEF"/>
                </a:solidFill>
                <a:latin typeface="+mj-lt"/>
              </a:rPr>
            </a:br>
            <a:r>
              <a:rPr lang="en-US" sz="4000" b="1" spc="-56" dirty="0">
                <a:solidFill>
                  <a:schemeClr val="bg1"/>
                </a:solidFill>
                <a:latin typeface="+mj-lt"/>
              </a:rPr>
              <a:t>Addressing Challenges </a:t>
            </a:r>
            <a:br>
              <a:rPr lang="en-US" sz="4000" b="1" spc="-56" dirty="0">
                <a:solidFill>
                  <a:schemeClr val="bg1"/>
                </a:solidFill>
                <a:latin typeface="+mj-lt"/>
              </a:rPr>
            </a:br>
            <a:r>
              <a:rPr lang="en-US" sz="4000" b="1" spc="-56" dirty="0">
                <a:solidFill>
                  <a:schemeClr val="bg1"/>
                </a:solidFill>
                <a:latin typeface="+mj-lt"/>
              </a:rPr>
              <a:t>in Health Care Innovation</a:t>
            </a:r>
          </a:p>
        </p:txBody>
      </p:sp>
      <p:sp>
        <p:nvSpPr>
          <p:cNvPr id="9" name="object 12">
            <a:extLst>
              <a:ext uri="{FF2B5EF4-FFF2-40B4-BE49-F238E27FC236}">
                <a16:creationId xmlns:a16="http://schemas.microsoft.com/office/drawing/2014/main" id="{B2E868BE-42C1-791D-AF09-1B0CDB9A50F5}"/>
              </a:ext>
            </a:extLst>
          </p:cNvPr>
          <p:cNvSpPr txBox="1"/>
          <p:nvPr/>
        </p:nvSpPr>
        <p:spPr>
          <a:xfrm>
            <a:off x="419515" y="4870957"/>
            <a:ext cx="5561077" cy="434479"/>
          </a:xfrm>
          <a:prstGeom prst="rect">
            <a:avLst/>
          </a:prstGeom>
        </p:spPr>
        <p:txBody>
          <a:bodyPr vert="horz" wrap="square" lIns="0" tIns="125477" rIns="0" bIns="0" rtlCol="0">
            <a:spAutoFit/>
          </a:bodyPr>
          <a:lstStyle/>
          <a:p>
            <a:pPr marL="10159" defTabSz="891427">
              <a:spcBef>
                <a:spcPts val="3040"/>
              </a:spcBef>
              <a:tabLst>
                <a:tab pos="1854599" algn="l"/>
                <a:tab pos="2049660" algn="l"/>
              </a:tabLst>
              <a:defRPr/>
            </a:pPr>
            <a:r>
              <a:rPr lang="en-US" sz="2000" spc="-32" dirty="0">
                <a:solidFill>
                  <a:srgbClr val="FFFFFF"/>
                </a:solidFill>
                <a:cs typeface="Volte Semibold"/>
              </a:rPr>
              <a:t>December 10  |  2:00­ – 3:00 pm ET</a:t>
            </a:r>
          </a:p>
        </p:txBody>
      </p:sp>
      <p:grpSp>
        <p:nvGrpSpPr>
          <p:cNvPr id="2" name="Group 1">
            <a:extLst>
              <a:ext uri="{FF2B5EF4-FFF2-40B4-BE49-F238E27FC236}">
                <a16:creationId xmlns:a16="http://schemas.microsoft.com/office/drawing/2014/main" id="{275268B9-2DF3-3BCD-D2C1-4A94C0E2F609}"/>
              </a:ext>
            </a:extLst>
          </p:cNvPr>
          <p:cNvGrpSpPr/>
          <p:nvPr/>
        </p:nvGrpSpPr>
        <p:grpSpPr>
          <a:xfrm>
            <a:off x="6378339" y="386739"/>
            <a:ext cx="2122088" cy="2235992"/>
            <a:chOff x="6765395" y="97741"/>
            <a:chExt cx="3106950" cy="3273715"/>
          </a:xfrm>
        </p:grpSpPr>
        <p:pic>
          <p:nvPicPr>
            <p:cNvPr id="5" name="object 6">
              <a:extLst>
                <a:ext uri="{FF2B5EF4-FFF2-40B4-BE49-F238E27FC236}">
                  <a16:creationId xmlns:a16="http://schemas.microsoft.com/office/drawing/2014/main" id="{491391B2-31AA-0C64-7B41-14343ABB87D8}"/>
                </a:ext>
              </a:extLst>
            </p:cNvPr>
            <p:cNvPicPr/>
            <p:nvPr/>
          </p:nvPicPr>
          <p:blipFill>
            <a:blip r:embed="rId2" cstate="print"/>
            <a:stretch>
              <a:fillRect/>
            </a:stretch>
          </p:blipFill>
          <p:spPr>
            <a:xfrm>
              <a:off x="6785968" y="282170"/>
              <a:ext cx="3061167" cy="3061167"/>
            </a:xfrm>
            <a:prstGeom prst="rect">
              <a:avLst/>
            </a:prstGeom>
          </p:spPr>
        </p:pic>
        <p:pic>
          <p:nvPicPr>
            <p:cNvPr id="6" name="Picture 5">
              <a:extLst>
                <a:ext uri="{FF2B5EF4-FFF2-40B4-BE49-F238E27FC236}">
                  <a16:creationId xmlns:a16="http://schemas.microsoft.com/office/drawing/2014/main" id="{F352F546-3255-1D62-0481-1AF3235AB98D}"/>
                </a:ext>
              </a:extLst>
            </p:cNvPr>
            <p:cNvPicPr preferRelativeResize="0">
              <a:picLocks/>
            </p:cNvPicPr>
            <p:nvPr/>
          </p:nvPicPr>
          <p:blipFill>
            <a:blip r:embed="rId3">
              <a:extLst>
                <a:ext uri="{28A0092B-C50C-407E-A947-70E740481C1C}">
                  <a14:useLocalDpi xmlns:a14="http://schemas.microsoft.com/office/drawing/2010/main" val="0"/>
                </a:ext>
              </a:extLst>
            </a:blip>
            <a:srcRect l="7297" t="1950" r="8260" b="38732"/>
            <a:stretch/>
          </p:blipFill>
          <p:spPr>
            <a:xfrm>
              <a:off x="6765395" y="97741"/>
              <a:ext cx="3106950" cy="3273715"/>
            </a:xfrm>
            <a:prstGeom prst="ellipse">
              <a:avLst/>
            </a:prstGeom>
            <a:effectLst>
              <a:outerShdw blurRad="50800" dist="38100" dir="16200000" rotWithShape="0">
                <a:prstClr val="black">
                  <a:alpha val="40000"/>
                </a:prstClr>
              </a:outerShdw>
            </a:effectLst>
          </p:spPr>
        </p:pic>
      </p:grpSp>
      <p:sp>
        <p:nvSpPr>
          <p:cNvPr id="7" name="object 12">
            <a:extLst>
              <a:ext uri="{FF2B5EF4-FFF2-40B4-BE49-F238E27FC236}">
                <a16:creationId xmlns:a16="http://schemas.microsoft.com/office/drawing/2014/main" id="{A1DD4C1C-0FCD-643B-6D9E-5E617899B7C5}"/>
              </a:ext>
            </a:extLst>
          </p:cNvPr>
          <p:cNvSpPr txBox="1"/>
          <p:nvPr/>
        </p:nvSpPr>
        <p:spPr>
          <a:xfrm>
            <a:off x="6038199" y="2630159"/>
            <a:ext cx="2799195" cy="1249382"/>
          </a:xfrm>
          <a:prstGeom prst="rect">
            <a:avLst/>
          </a:prstGeom>
        </p:spPr>
        <p:txBody>
          <a:bodyPr vert="horz" wrap="square" lIns="0" tIns="0" rIns="0" bIns="0" rtlCol="0" anchor="t">
            <a:noAutofit/>
          </a:bodyPr>
          <a:lstStyle/>
          <a:p>
            <a:pPr marL="8862" algn="ctr" defTabSz="777588">
              <a:tabLst>
                <a:tab pos="1617759" algn="l"/>
                <a:tab pos="1787910" algn="l"/>
              </a:tabLst>
              <a:defRPr/>
            </a:pPr>
            <a:r>
              <a:rPr lang="en-US" sz="1600" b="1" spc="-28" dirty="0">
                <a:solidFill>
                  <a:srgbClr val="FFFFFF"/>
                </a:solidFill>
                <a:cs typeface="Volte Semibold"/>
              </a:rPr>
              <a:t>Katie Davis, NP</a:t>
            </a:r>
          </a:p>
          <a:p>
            <a:pPr marL="8862" algn="ctr" defTabSz="777588">
              <a:tabLst>
                <a:tab pos="1617759" algn="l"/>
                <a:tab pos="1787910" algn="l"/>
              </a:tabLst>
              <a:defRPr/>
            </a:pPr>
            <a:r>
              <a:rPr lang="fr-FR" sz="1400" spc="-28" dirty="0">
                <a:solidFill>
                  <a:srgbClr val="FFFFFF"/>
                </a:solidFill>
                <a:cs typeface="Volte Semibold"/>
              </a:rPr>
              <a:t>Vice President, </a:t>
            </a:r>
          </a:p>
          <a:p>
            <a:pPr marL="8862" algn="ctr" defTabSz="777588">
              <a:tabLst>
                <a:tab pos="1617759" algn="l"/>
                <a:tab pos="1787910" algn="l"/>
              </a:tabLst>
              <a:defRPr/>
            </a:pPr>
            <a:r>
              <a:rPr lang="fr-FR" sz="1400" spc="-28" dirty="0">
                <a:solidFill>
                  <a:srgbClr val="FFFFFF"/>
                </a:solidFill>
                <a:cs typeface="Volte Semibold"/>
              </a:rPr>
              <a:t>Provider Relations</a:t>
            </a:r>
          </a:p>
          <a:p>
            <a:pPr marL="8862" algn="ctr" defTabSz="777588">
              <a:tabLst>
                <a:tab pos="1617759" algn="l"/>
                <a:tab pos="1787910" algn="l"/>
              </a:tabLst>
              <a:defRPr/>
            </a:pPr>
            <a:r>
              <a:rPr lang="fr-FR" sz="1400" spc="-28" dirty="0">
                <a:solidFill>
                  <a:srgbClr val="FFFFFF"/>
                </a:solidFill>
                <a:cs typeface="Volte Semibold"/>
              </a:rPr>
              <a:t>CAQH</a:t>
            </a:r>
            <a:endParaRPr lang="en-US" sz="1400" dirty="0">
              <a:solidFill>
                <a:srgbClr val="323E48"/>
              </a:solidFill>
              <a:cs typeface="Volte Semibold"/>
            </a:endParaRPr>
          </a:p>
        </p:txBody>
      </p:sp>
      <p:sp>
        <p:nvSpPr>
          <p:cNvPr id="14" name="object 12">
            <a:extLst>
              <a:ext uri="{FF2B5EF4-FFF2-40B4-BE49-F238E27FC236}">
                <a16:creationId xmlns:a16="http://schemas.microsoft.com/office/drawing/2014/main" id="{29EB1789-1BDD-AD66-0973-EF63D1F52370}"/>
              </a:ext>
            </a:extLst>
          </p:cNvPr>
          <p:cNvSpPr txBox="1"/>
          <p:nvPr/>
        </p:nvSpPr>
        <p:spPr>
          <a:xfrm>
            <a:off x="7509449" y="5465641"/>
            <a:ext cx="2799195" cy="1032813"/>
          </a:xfrm>
          <a:prstGeom prst="rect">
            <a:avLst/>
          </a:prstGeom>
        </p:spPr>
        <p:txBody>
          <a:bodyPr vert="horz" wrap="square" lIns="0" tIns="0" rIns="0" bIns="0" rtlCol="0" anchor="t">
            <a:noAutofit/>
          </a:bodyPr>
          <a:lstStyle/>
          <a:p>
            <a:pPr marL="8862" algn="ctr" defTabSz="777588">
              <a:tabLst>
                <a:tab pos="1617759" algn="l"/>
                <a:tab pos="1787910" algn="l"/>
              </a:tabLst>
              <a:defRPr/>
            </a:pPr>
            <a:r>
              <a:rPr lang="en-US" sz="1600" b="1" spc="-28" dirty="0">
                <a:solidFill>
                  <a:srgbClr val="FFFFFF"/>
                </a:solidFill>
                <a:cs typeface="Volte Semibold"/>
              </a:rPr>
              <a:t>Meredith Williams, MD</a:t>
            </a:r>
          </a:p>
          <a:p>
            <a:pPr marL="8862" algn="ctr" defTabSz="777588">
              <a:tabLst>
                <a:tab pos="1617759" algn="l"/>
                <a:tab pos="1787910" algn="l"/>
              </a:tabLst>
              <a:defRPr/>
            </a:pPr>
            <a:r>
              <a:rPr lang="en-US" sz="1400" spc="-28" dirty="0">
                <a:solidFill>
                  <a:srgbClr val="FFFFFF"/>
                </a:solidFill>
                <a:cs typeface="Volte Semibold"/>
              </a:rPr>
              <a:t>Vice President, </a:t>
            </a:r>
          </a:p>
          <a:p>
            <a:pPr marL="8862" algn="ctr" defTabSz="777588">
              <a:tabLst>
                <a:tab pos="1617759" algn="l"/>
                <a:tab pos="1787910" algn="l"/>
              </a:tabLst>
              <a:defRPr/>
            </a:pPr>
            <a:r>
              <a:rPr lang="en-US" sz="1400" spc="-28" dirty="0">
                <a:solidFill>
                  <a:srgbClr val="FFFFFF"/>
                </a:solidFill>
                <a:cs typeface="Volte Semibold"/>
              </a:rPr>
              <a:t>Clinical Affairs</a:t>
            </a:r>
          </a:p>
          <a:p>
            <a:pPr marL="8862" algn="ctr" defTabSz="777588">
              <a:tabLst>
                <a:tab pos="1617759" algn="l"/>
                <a:tab pos="1787910" algn="l"/>
              </a:tabLst>
              <a:defRPr/>
            </a:pPr>
            <a:r>
              <a:rPr lang="en-US" sz="1400" spc="-28" dirty="0">
                <a:solidFill>
                  <a:srgbClr val="FFFFFF"/>
                </a:solidFill>
                <a:cs typeface="Volte Semibold"/>
              </a:rPr>
              <a:t>Oscar Health</a:t>
            </a:r>
            <a:endParaRPr lang="en-US" sz="1400" dirty="0">
              <a:solidFill>
                <a:srgbClr val="323E48"/>
              </a:solidFill>
              <a:cs typeface="Volte Semibold"/>
            </a:endParaRPr>
          </a:p>
        </p:txBody>
      </p:sp>
      <p:pic>
        <p:nvPicPr>
          <p:cNvPr id="17" name="Picture 16">
            <a:extLst>
              <a:ext uri="{FF2B5EF4-FFF2-40B4-BE49-F238E27FC236}">
                <a16:creationId xmlns:a16="http://schemas.microsoft.com/office/drawing/2014/main" id="{2C263962-2606-5D51-40C3-D89ADD3D0A42}"/>
              </a:ext>
            </a:extLst>
          </p:cNvPr>
          <p:cNvPicPr preferRelativeResize="0">
            <a:picLocks/>
          </p:cNvPicPr>
          <p:nvPr/>
        </p:nvPicPr>
        <p:blipFill>
          <a:blip r:embed="rId4">
            <a:extLst>
              <a:ext uri="{28A0092B-C50C-407E-A947-70E740481C1C}">
                <a14:useLocalDpi xmlns:a14="http://schemas.microsoft.com/office/drawing/2010/main" val="0"/>
              </a:ext>
            </a:extLst>
          </a:blip>
          <a:srcRect l="9687" r="6387" b="15317"/>
          <a:stretch/>
        </p:blipFill>
        <p:spPr>
          <a:xfrm>
            <a:off x="9576386" y="516261"/>
            <a:ext cx="2103120" cy="2103120"/>
          </a:xfrm>
          <a:prstGeom prst="ellipse">
            <a:avLst/>
          </a:prstGeom>
          <a:effectLst>
            <a:outerShdw blurRad="50800" dist="38100" dir="16200000" rotWithShape="0">
              <a:prstClr val="black">
                <a:alpha val="40000"/>
              </a:prstClr>
            </a:outerShdw>
          </a:effectLst>
        </p:spPr>
      </p:pic>
      <p:sp>
        <p:nvSpPr>
          <p:cNvPr id="18" name="object 12">
            <a:extLst>
              <a:ext uri="{FF2B5EF4-FFF2-40B4-BE49-F238E27FC236}">
                <a16:creationId xmlns:a16="http://schemas.microsoft.com/office/drawing/2014/main" id="{C18278C7-2DD6-F90E-E770-3A8035789D36}"/>
              </a:ext>
            </a:extLst>
          </p:cNvPr>
          <p:cNvSpPr txBox="1"/>
          <p:nvPr/>
        </p:nvSpPr>
        <p:spPr>
          <a:xfrm>
            <a:off x="9228349" y="2630159"/>
            <a:ext cx="2799195" cy="1402217"/>
          </a:xfrm>
          <a:prstGeom prst="rect">
            <a:avLst/>
          </a:prstGeom>
        </p:spPr>
        <p:txBody>
          <a:bodyPr vert="horz" wrap="square" lIns="0" tIns="0" rIns="0" bIns="0" rtlCol="0" anchor="t">
            <a:noAutofit/>
          </a:bodyPr>
          <a:lstStyle/>
          <a:p>
            <a:pPr marL="8862" algn="ctr" defTabSz="777588">
              <a:tabLst>
                <a:tab pos="1617759" algn="l"/>
                <a:tab pos="1787910" algn="l"/>
              </a:tabLst>
              <a:defRPr/>
            </a:pPr>
            <a:r>
              <a:rPr lang="en-US" sz="1600" b="1" spc="-28" dirty="0">
                <a:solidFill>
                  <a:srgbClr val="FFFFFF"/>
                </a:solidFill>
                <a:cs typeface="Volte Semibold"/>
              </a:rPr>
              <a:t>Patrick </a:t>
            </a:r>
            <a:r>
              <a:rPr lang="en-US" sz="1600" b="1" spc="-28" dirty="0" err="1">
                <a:solidFill>
                  <a:srgbClr val="FFFFFF"/>
                </a:solidFill>
                <a:cs typeface="Volte Semibold"/>
              </a:rPr>
              <a:t>Murta</a:t>
            </a:r>
            <a:endParaRPr lang="en-US" sz="1600" b="1" spc="-28" dirty="0">
              <a:solidFill>
                <a:srgbClr val="FFFFFF"/>
              </a:solidFill>
              <a:cs typeface="Volte Semibold"/>
            </a:endParaRPr>
          </a:p>
          <a:p>
            <a:pPr marL="8862" algn="ctr" defTabSz="777588">
              <a:tabLst>
                <a:tab pos="1617759" algn="l"/>
                <a:tab pos="1787910" algn="l"/>
              </a:tabLst>
              <a:defRPr/>
            </a:pPr>
            <a:r>
              <a:rPr lang="en-US" sz="1400" spc="-28" dirty="0">
                <a:solidFill>
                  <a:srgbClr val="FFFFFF"/>
                </a:solidFill>
                <a:cs typeface="Volte Semibold"/>
              </a:rPr>
              <a:t>Vice President,</a:t>
            </a:r>
          </a:p>
          <a:p>
            <a:pPr marL="8862" algn="ctr" defTabSz="777588">
              <a:tabLst>
                <a:tab pos="1617759" algn="l"/>
                <a:tab pos="1787910" algn="l"/>
              </a:tabLst>
              <a:defRPr/>
            </a:pPr>
            <a:r>
              <a:rPr lang="en-US" sz="1400" spc="-28" dirty="0">
                <a:solidFill>
                  <a:srgbClr val="FFFFFF"/>
                </a:solidFill>
                <a:cs typeface="Volte Semibold"/>
              </a:rPr>
              <a:t>IT, Clinical Product and </a:t>
            </a:r>
          </a:p>
          <a:p>
            <a:pPr marL="8862" algn="ctr" defTabSz="777588">
              <a:tabLst>
                <a:tab pos="1617759" algn="l"/>
                <a:tab pos="1787910" algn="l"/>
              </a:tabLst>
              <a:defRPr/>
            </a:pPr>
            <a:r>
              <a:rPr lang="en-US" sz="1400" spc="-28" dirty="0">
                <a:solidFill>
                  <a:srgbClr val="FFFFFF"/>
                </a:solidFill>
                <a:cs typeface="Volte Semibold"/>
              </a:rPr>
              <a:t>Platform Architecture</a:t>
            </a:r>
          </a:p>
          <a:p>
            <a:pPr marL="8862" algn="ctr" defTabSz="777588">
              <a:tabLst>
                <a:tab pos="1617759" algn="l"/>
                <a:tab pos="1787910" algn="l"/>
              </a:tabLst>
              <a:defRPr/>
            </a:pPr>
            <a:r>
              <a:rPr lang="en-US" sz="1400" spc="-28" dirty="0">
                <a:solidFill>
                  <a:srgbClr val="FFFFFF"/>
                </a:solidFill>
                <a:cs typeface="Volte Semibold"/>
              </a:rPr>
              <a:t>Centene</a:t>
            </a:r>
            <a:endParaRPr lang="en-US" sz="1400" dirty="0">
              <a:solidFill>
                <a:srgbClr val="323E48"/>
              </a:solidFill>
              <a:cs typeface="Volte Semibold"/>
            </a:endParaRPr>
          </a:p>
        </p:txBody>
      </p:sp>
      <p:pic>
        <p:nvPicPr>
          <p:cNvPr id="21" name="Picture 20">
            <a:extLst>
              <a:ext uri="{FF2B5EF4-FFF2-40B4-BE49-F238E27FC236}">
                <a16:creationId xmlns:a16="http://schemas.microsoft.com/office/drawing/2014/main" id="{7B7ECF47-5F88-9002-DE64-B498F006AB3D}"/>
              </a:ext>
            </a:extLst>
          </p:cNvPr>
          <p:cNvPicPr preferRelativeResize="0">
            <a:picLocks/>
          </p:cNvPicPr>
          <p:nvPr/>
        </p:nvPicPr>
        <p:blipFill>
          <a:blip r:embed="rId5">
            <a:extLst>
              <a:ext uri="{28A0092B-C50C-407E-A947-70E740481C1C}">
                <a14:useLocalDpi xmlns:a14="http://schemas.microsoft.com/office/drawing/2010/main" val="0"/>
              </a:ext>
            </a:extLst>
          </a:blip>
          <a:srcRect/>
          <a:stretch/>
        </p:blipFill>
        <p:spPr>
          <a:xfrm>
            <a:off x="7857487" y="3331267"/>
            <a:ext cx="2103120" cy="2103120"/>
          </a:xfrm>
          <a:prstGeom prst="ellipse">
            <a:avLst/>
          </a:prstGeom>
          <a:effectLst>
            <a:outerShdw blurRad="50800" dist="38100" dir="16200000" rotWithShape="0">
              <a:prstClr val="black">
                <a:alpha val="40000"/>
              </a:prstClr>
            </a:outerShdw>
          </a:effectLst>
        </p:spPr>
      </p:pic>
    </p:spTree>
    <p:extLst>
      <p:ext uri="{BB962C8B-B14F-4D97-AF65-F5344CB8AC3E}">
        <p14:creationId xmlns:p14="http://schemas.microsoft.com/office/powerpoint/2010/main" val="1349339533"/>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669F45D-54D4-E6D5-86F8-B000E6A5F944}"/>
              </a:ext>
            </a:extLst>
          </p:cNvPr>
          <p:cNvSpPr/>
          <p:nvPr/>
        </p:nvSpPr>
        <p:spPr>
          <a:xfrm rot="5400000" flipH="1">
            <a:off x="3389101" y="-1944900"/>
            <a:ext cx="5413793" cy="12192005"/>
          </a:xfrm>
          <a:prstGeom prst="rect">
            <a:avLst/>
          </a:prstGeom>
          <a:gradFill>
            <a:gsLst>
              <a:gs pos="0">
                <a:schemeClr val="bg1">
                  <a:alpha val="0"/>
                </a:schemeClr>
              </a:gs>
              <a:gs pos="54000">
                <a:srgbClr val="006BA0">
                  <a:alpha val="88000"/>
                </a:srgbClr>
              </a:gs>
              <a:gs pos="89000">
                <a:schemeClr val="accent1">
                  <a:lumMod val="75000"/>
                </a:schemeClr>
              </a:gs>
              <a:gs pos="0">
                <a:schemeClr val="bg1">
                  <a:alpha val="0"/>
                </a:schemeClr>
              </a:gs>
              <a:gs pos="28000">
                <a:schemeClr val="accent2">
                  <a:alpha val="62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6" name="think-cell data - do not delete" hidden="1">
            <a:extLst>
              <a:ext uri="{FF2B5EF4-FFF2-40B4-BE49-F238E27FC236}">
                <a16:creationId xmlns:a16="http://schemas.microsoft.com/office/drawing/2014/main" id="{2226758D-0F32-8BE7-A7DA-43CDCC5D5F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think-cell data - do not delete" hidden="1">
                        <a:extLst>
                          <a:ext uri="{FF2B5EF4-FFF2-40B4-BE49-F238E27FC236}">
                            <a16:creationId xmlns:a16="http://schemas.microsoft.com/office/drawing/2014/main" id="{2226758D-0F32-8BE7-A7DA-43CDCC5D5F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C2F6E0-B6D1-914C-EC9D-D8A04810753A}"/>
              </a:ext>
            </a:extLst>
          </p:cNvPr>
          <p:cNvSpPr>
            <a:spLocks noGrp="1"/>
          </p:cNvSpPr>
          <p:nvPr>
            <p:ph type="title"/>
          </p:nvPr>
        </p:nvSpPr>
        <p:spPr>
          <a:xfrm>
            <a:off x="752437" y="492118"/>
            <a:ext cx="10625921" cy="852627"/>
          </a:xfrm>
          <a:prstGeom prst="rect">
            <a:avLst/>
          </a:prstGeom>
        </p:spPr>
        <p:txBody>
          <a:bodyPr vert="horz" lIns="0" tIns="0" rIns="0" bIns="0" anchor="t"/>
          <a:lstStyle/>
          <a:p>
            <a:pPr algn="ctr">
              <a:lnSpc>
                <a:spcPct val="100000"/>
              </a:lnSpc>
              <a:tabLst>
                <a:tab pos="173038" algn="l"/>
              </a:tabLst>
            </a:pPr>
            <a:r>
              <a:rPr lang="en-US" dirty="0">
                <a:latin typeface="Arial"/>
                <a:cs typeface="Arial"/>
              </a:rPr>
              <a:t>Is Data Exchange the Key to Progress? </a:t>
            </a:r>
            <a:endParaRPr lang="en-US" sz="3200" dirty="0">
              <a:latin typeface="Arial"/>
              <a:cs typeface="Arial"/>
            </a:endParaRPr>
          </a:p>
        </p:txBody>
      </p:sp>
      <p:sp>
        <p:nvSpPr>
          <p:cNvPr id="11" name="TextBox 10">
            <a:extLst>
              <a:ext uri="{FF2B5EF4-FFF2-40B4-BE49-F238E27FC236}">
                <a16:creationId xmlns:a16="http://schemas.microsoft.com/office/drawing/2014/main" id="{E5CBB928-DC54-B122-485D-12A7FB0ECDA0}"/>
              </a:ext>
            </a:extLst>
          </p:cNvPr>
          <p:cNvSpPr txBox="1"/>
          <p:nvPr/>
        </p:nvSpPr>
        <p:spPr>
          <a:xfrm>
            <a:off x="4603915" y="3904486"/>
            <a:ext cx="2601281" cy="738664"/>
          </a:xfrm>
          <a:prstGeom prst="rect">
            <a:avLst/>
          </a:prstGeom>
          <a:noFill/>
        </p:spPr>
        <p:txBody>
          <a:bodyPr wrap="square" lIns="0" tIns="0" rIns="0" bIns="0">
            <a:noAutofit/>
          </a:bodyPr>
          <a:lstStyle>
            <a:defPPr>
              <a:defRPr lang="en-US"/>
            </a:defPPr>
            <a:lvl1pPr marR="0" lvl="0" indent="0" algn="ctr" fontAlgn="auto">
              <a:lnSpc>
                <a:spcPct val="100000"/>
              </a:lnSpc>
              <a:spcBef>
                <a:spcPts val="0"/>
              </a:spcBef>
              <a:spcAft>
                <a:spcPts val="1200"/>
              </a:spcAft>
              <a:buClrTx/>
              <a:buSzTx/>
              <a:buFontTx/>
              <a:buNone/>
              <a:tabLst/>
              <a:defRPr kumimoji="0" sz="1400" u="none" strike="noStrike" cap="none" spc="0" normalizeH="0" baseline="0">
                <a:ln>
                  <a:noFill/>
                </a:ln>
                <a:solidFill>
                  <a:schemeClr val="accent1"/>
                </a:solidFill>
                <a:effectLst/>
                <a:uLnTx/>
                <a:uFillTx/>
                <a:latin typeface="Arial"/>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a:ea typeface="+mn-ea"/>
                <a:cs typeface="+mn-cs"/>
              </a:rPr>
              <a:t>providers cite stress from inability to share information between systems</a:t>
            </a:r>
            <a:r>
              <a:rPr kumimoji="0" lang="en-US" b="0" i="0" u="none" strike="noStrike" kern="1200" cap="none" spc="0" normalizeH="0" baseline="30000" noProof="0" dirty="0">
                <a:ln>
                  <a:noFill/>
                </a:ln>
                <a:solidFill>
                  <a:schemeClr val="bg1"/>
                </a:solidFill>
                <a:effectLst/>
                <a:uLnTx/>
                <a:uFillTx/>
                <a:latin typeface="Arial"/>
                <a:ea typeface="+mn-ea"/>
                <a:cs typeface="+mn-cs"/>
              </a:rPr>
              <a:t>2</a:t>
            </a:r>
            <a:endParaRPr kumimoji="0" lang="en-US" sz="1600" b="0" i="0" u="none" strike="noStrike" kern="1200" cap="none" spc="0" normalizeH="0" baseline="30000" noProof="0" dirty="0">
              <a:ln>
                <a:noFill/>
              </a:ln>
              <a:solidFill>
                <a:schemeClr val="bg1"/>
              </a:solidFill>
              <a:effectLst/>
              <a:uLnTx/>
              <a:uFillTx/>
              <a:latin typeface="Arial"/>
              <a:ea typeface="+mn-ea"/>
              <a:cs typeface="+mn-cs"/>
            </a:endParaRPr>
          </a:p>
        </p:txBody>
      </p:sp>
      <p:sp>
        <p:nvSpPr>
          <p:cNvPr id="9" name="TextBox 8">
            <a:extLst>
              <a:ext uri="{FF2B5EF4-FFF2-40B4-BE49-F238E27FC236}">
                <a16:creationId xmlns:a16="http://schemas.microsoft.com/office/drawing/2014/main" id="{EEA94C6C-4C0D-AA64-31FB-EC0614545CEF}"/>
              </a:ext>
            </a:extLst>
          </p:cNvPr>
          <p:cNvSpPr txBox="1"/>
          <p:nvPr/>
        </p:nvSpPr>
        <p:spPr bwMode="gray">
          <a:xfrm>
            <a:off x="4518713" y="2803559"/>
            <a:ext cx="2771684" cy="830997"/>
          </a:xfrm>
          <a:prstGeom prst="rect">
            <a:avLst/>
          </a:prstGeom>
          <a:noFill/>
          <a:effectLst>
            <a:outerShdw blurRad="50800" dist="38100" dir="8100000" algn="tr" rotWithShape="0">
              <a:prstClr val="black">
                <a:alpha val="40000"/>
              </a:prstClr>
            </a:outerShdw>
          </a:effectLst>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5400" b="1" i="0" u="none" strike="noStrike" kern="1200" cap="none" spc="0" normalizeH="0" baseline="0" noProof="0" dirty="0">
                <a:ln>
                  <a:noFill/>
                </a:ln>
                <a:solidFill>
                  <a:schemeClr val="bg1"/>
                </a:solidFill>
                <a:effectLst/>
                <a:uLnTx/>
                <a:uFillTx/>
                <a:latin typeface="Arial"/>
                <a:ea typeface="+mn-ea"/>
                <a:cs typeface="+mn-cs"/>
              </a:rPr>
              <a:t>&gt;80%</a:t>
            </a:r>
          </a:p>
        </p:txBody>
      </p:sp>
      <p:sp>
        <p:nvSpPr>
          <p:cNvPr id="35" name="Rectangle 34">
            <a:extLst>
              <a:ext uri="{FF2B5EF4-FFF2-40B4-BE49-F238E27FC236}">
                <a16:creationId xmlns:a16="http://schemas.microsoft.com/office/drawing/2014/main" id="{56F93D54-03C6-E7DB-8D66-A4DF3C2AB5AB}"/>
              </a:ext>
            </a:extLst>
          </p:cNvPr>
          <p:cNvSpPr/>
          <p:nvPr/>
        </p:nvSpPr>
        <p:spPr>
          <a:xfrm>
            <a:off x="4594952" y="1910226"/>
            <a:ext cx="2619207" cy="553998"/>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FRAGMENTATION IS STRESSING THE SYSTEM</a:t>
            </a:r>
          </a:p>
        </p:txBody>
      </p:sp>
      <p:cxnSp>
        <p:nvCxnSpPr>
          <p:cNvPr id="30" name="Straight Connector 29">
            <a:extLst>
              <a:ext uri="{FF2B5EF4-FFF2-40B4-BE49-F238E27FC236}">
                <a16:creationId xmlns:a16="http://schemas.microsoft.com/office/drawing/2014/main" id="{B595B046-813C-4772-0670-3A8D5A9DE167}"/>
              </a:ext>
            </a:extLst>
          </p:cNvPr>
          <p:cNvCxnSpPr>
            <a:cxnSpLocks/>
          </p:cNvCxnSpPr>
          <p:nvPr/>
        </p:nvCxnSpPr>
        <p:spPr>
          <a:xfrm>
            <a:off x="9755596" y="764013"/>
            <a:ext cx="1710575" cy="0"/>
          </a:xfrm>
          <a:prstGeom prst="line">
            <a:avLst/>
          </a:prstGeom>
          <a:noFill/>
          <a:ln w="12700">
            <a:gradFill>
              <a:gsLst>
                <a:gs pos="0">
                  <a:schemeClr val="bg1"/>
                </a:gs>
                <a:gs pos="72000">
                  <a:srgbClr val="00D9FF"/>
                </a:gs>
              </a:gsLst>
              <a:lin ang="0" scaled="0"/>
            </a:gradFill>
            <a:headEnd type="none" w="med" len="med"/>
            <a:tailEnd type="oval" w="med" len="med"/>
          </a:ln>
        </p:spPr>
        <p:style>
          <a:lnRef idx="2">
            <a:schemeClr val="accent1">
              <a:shade val="15000"/>
            </a:schemeClr>
          </a:lnRef>
          <a:fillRef idx="1">
            <a:schemeClr val="accent1"/>
          </a:fillRef>
          <a:effectRef idx="0">
            <a:schemeClr val="accent1"/>
          </a:effectRef>
          <a:fontRef idx="minor">
            <a:schemeClr val="lt1"/>
          </a:fontRef>
        </p:style>
      </p:cxnSp>
      <p:cxnSp>
        <p:nvCxnSpPr>
          <p:cNvPr id="31" name="Straight Connector 30">
            <a:extLst>
              <a:ext uri="{FF2B5EF4-FFF2-40B4-BE49-F238E27FC236}">
                <a16:creationId xmlns:a16="http://schemas.microsoft.com/office/drawing/2014/main" id="{0AC982DF-CC97-68B9-5B32-2CF85D762BB2}"/>
              </a:ext>
            </a:extLst>
          </p:cNvPr>
          <p:cNvCxnSpPr>
            <a:cxnSpLocks/>
          </p:cNvCxnSpPr>
          <p:nvPr/>
        </p:nvCxnSpPr>
        <p:spPr>
          <a:xfrm flipH="1">
            <a:off x="735596" y="764013"/>
            <a:ext cx="1751201" cy="0"/>
          </a:xfrm>
          <a:prstGeom prst="line">
            <a:avLst/>
          </a:prstGeom>
          <a:noFill/>
          <a:ln w="12700">
            <a:gradFill>
              <a:gsLst>
                <a:gs pos="0">
                  <a:schemeClr val="bg1"/>
                </a:gs>
                <a:gs pos="72000">
                  <a:srgbClr val="00D9FF"/>
                </a:gs>
              </a:gsLst>
              <a:lin ang="0" scaled="0"/>
            </a:gradFill>
            <a:headEnd type="none" w="med" len="med"/>
            <a:tailEnd type="oval" w="med" len="med"/>
          </a:ln>
        </p:spPr>
        <p:style>
          <a:lnRef idx="2">
            <a:schemeClr val="accent1">
              <a:shade val="15000"/>
            </a:schemeClr>
          </a:lnRef>
          <a:fillRef idx="1">
            <a:schemeClr val="accent1"/>
          </a:fillRef>
          <a:effectRef idx="0">
            <a:schemeClr val="accent1"/>
          </a:effectRef>
          <a:fontRef idx="minor">
            <a:schemeClr val="lt1"/>
          </a:fontRef>
        </p:style>
      </p:cxnSp>
      <p:sp>
        <p:nvSpPr>
          <p:cNvPr id="5" name="TextBox 4">
            <a:extLst>
              <a:ext uri="{FF2B5EF4-FFF2-40B4-BE49-F238E27FC236}">
                <a16:creationId xmlns:a16="http://schemas.microsoft.com/office/drawing/2014/main" id="{B9E8E538-55B2-DE02-9D4D-D94987BA9B23}"/>
              </a:ext>
            </a:extLst>
          </p:cNvPr>
          <p:cNvSpPr txBox="1"/>
          <p:nvPr/>
        </p:nvSpPr>
        <p:spPr>
          <a:xfrm>
            <a:off x="1036742" y="3863667"/>
            <a:ext cx="2601282" cy="338554"/>
          </a:xfrm>
          <a:prstGeom prst="rect">
            <a:avLst/>
          </a:prstGeom>
          <a:noFill/>
        </p:spPr>
        <p:txBody>
          <a:bodyPr wrap="square">
            <a:spAutoFit/>
          </a:bodyPr>
          <a:lstStyle/>
          <a:p>
            <a:pPr algn="ctr"/>
            <a:r>
              <a:rPr lang="en-US" sz="1600" b="0" i="1" dirty="0">
                <a:solidFill>
                  <a:schemeClr val="bg1"/>
                </a:solidFill>
                <a:effectLst/>
              </a:rPr>
              <a:t>=10 million HD movies</a:t>
            </a:r>
            <a:endParaRPr lang="en-US" sz="1600" i="1" dirty="0"/>
          </a:p>
        </p:txBody>
      </p:sp>
      <p:sp>
        <p:nvSpPr>
          <p:cNvPr id="7" name="Rectangle 6">
            <a:extLst>
              <a:ext uri="{FF2B5EF4-FFF2-40B4-BE49-F238E27FC236}">
                <a16:creationId xmlns:a16="http://schemas.microsoft.com/office/drawing/2014/main" id="{8BFDC050-8EAB-C74B-DC48-CB530201D722}"/>
              </a:ext>
            </a:extLst>
          </p:cNvPr>
          <p:cNvSpPr/>
          <p:nvPr/>
        </p:nvSpPr>
        <p:spPr>
          <a:xfrm>
            <a:off x="1123744" y="1910226"/>
            <a:ext cx="2427279" cy="369329"/>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HO</a:t>
            </a:r>
            <a:r>
              <a:rPr lang="en-US" sz="1600" b="1" dirty="0">
                <a:solidFill>
                  <a:schemeClr val="bg1"/>
                </a:solidFill>
                <a:latin typeface="Arial"/>
              </a:rPr>
              <a:t>SPITALS </a:t>
            </a:r>
            <a:br>
              <a:rPr lang="en-US" sz="1600" b="1" dirty="0">
                <a:solidFill>
                  <a:schemeClr val="bg1"/>
                </a:solidFill>
                <a:latin typeface="Arial"/>
              </a:rPr>
            </a:br>
            <a:r>
              <a:rPr lang="en-US" sz="1600" b="1" dirty="0">
                <a:solidFill>
                  <a:schemeClr val="bg1"/>
                </a:solidFill>
                <a:latin typeface="Arial"/>
              </a:rPr>
              <a:t>GENERATE </a:t>
            </a: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8" name="TextBox 7">
            <a:extLst>
              <a:ext uri="{FF2B5EF4-FFF2-40B4-BE49-F238E27FC236}">
                <a16:creationId xmlns:a16="http://schemas.microsoft.com/office/drawing/2014/main" id="{913B5466-1D28-0AFF-1DF2-C72B637D02FB}"/>
              </a:ext>
            </a:extLst>
          </p:cNvPr>
          <p:cNvSpPr txBox="1"/>
          <p:nvPr/>
        </p:nvSpPr>
        <p:spPr bwMode="gray">
          <a:xfrm>
            <a:off x="951541" y="2774984"/>
            <a:ext cx="2771684" cy="830997"/>
          </a:xfrm>
          <a:prstGeom prst="rect">
            <a:avLst/>
          </a:prstGeom>
          <a:noFill/>
          <a:effectLst>
            <a:outerShdw blurRad="50800" dist="38100" dir="8100000" algn="tr" rotWithShape="0">
              <a:prstClr val="black">
                <a:alpha val="40000"/>
              </a:prstClr>
            </a:outerShdw>
          </a:effectLst>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5400" b="1" i="0" u="none" strike="noStrike" kern="1200" cap="none" spc="0" normalizeH="0" baseline="0" noProof="0" dirty="0">
                <a:ln>
                  <a:noFill/>
                </a:ln>
                <a:solidFill>
                  <a:schemeClr val="bg1"/>
                </a:solidFill>
                <a:effectLst/>
                <a:uLnTx/>
                <a:uFillTx/>
                <a:latin typeface="Arial"/>
                <a:ea typeface="+mn-ea"/>
                <a:cs typeface="+mn-cs"/>
              </a:rPr>
              <a:t>50PB</a:t>
            </a:r>
            <a:endParaRPr lang="en-US" sz="5400" b="1" dirty="0">
              <a:solidFill>
                <a:schemeClr val="bg1"/>
              </a:solidFill>
              <a:latin typeface="Arial"/>
            </a:endParaRPr>
          </a:p>
        </p:txBody>
      </p:sp>
      <p:sp>
        <p:nvSpPr>
          <p:cNvPr id="13" name="TextBox 12">
            <a:extLst>
              <a:ext uri="{FF2B5EF4-FFF2-40B4-BE49-F238E27FC236}">
                <a16:creationId xmlns:a16="http://schemas.microsoft.com/office/drawing/2014/main" id="{D6F91111-62DC-8AE6-9F22-BBC99DBA712D}"/>
              </a:ext>
            </a:extLst>
          </p:cNvPr>
          <p:cNvSpPr txBox="1"/>
          <p:nvPr/>
        </p:nvSpPr>
        <p:spPr bwMode="gray">
          <a:xfrm>
            <a:off x="951541" y="3481773"/>
            <a:ext cx="2771684" cy="307777"/>
          </a:xfrm>
          <a:prstGeom prst="rect">
            <a:avLst/>
          </a:prstGeom>
          <a:noFill/>
          <a:effectLst>
            <a:outerShdw blurRad="50800" dist="38100" dir="8100000" algn="tr" rotWithShape="0">
              <a:prstClr val="black">
                <a:alpha val="40000"/>
              </a:prstClr>
            </a:outerShdw>
          </a:effectLst>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2000" b="1" dirty="0">
                <a:solidFill>
                  <a:schemeClr val="bg1"/>
                </a:solidFill>
                <a:latin typeface="Arial"/>
              </a:rPr>
              <a:t>o</a:t>
            </a:r>
            <a:r>
              <a:rPr kumimoji="0" lang="en-US" sz="2000" b="1" i="0" u="none" strike="noStrike" kern="1200" cap="none" spc="0" normalizeH="0" baseline="0" noProof="0" dirty="0">
                <a:ln>
                  <a:noFill/>
                </a:ln>
                <a:solidFill>
                  <a:schemeClr val="bg1"/>
                </a:solidFill>
                <a:effectLst/>
                <a:uLnTx/>
                <a:uFillTx/>
                <a:latin typeface="Arial"/>
                <a:ea typeface="+mn-ea"/>
                <a:cs typeface="+mn-cs"/>
              </a:rPr>
              <a:t>f data annually</a:t>
            </a:r>
          </a:p>
        </p:txBody>
      </p:sp>
      <p:sp>
        <p:nvSpPr>
          <p:cNvPr id="16" name="TextBox 15">
            <a:extLst>
              <a:ext uri="{FF2B5EF4-FFF2-40B4-BE49-F238E27FC236}">
                <a16:creationId xmlns:a16="http://schemas.microsoft.com/office/drawing/2014/main" id="{B0D5C165-69EE-B2CE-13CD-0A9F77ABF4E2}"/>
              </a:ext>
            </a:extLst>
          </p:cNvPr>
          <p:cNvSpPr txBox="1"/>
          <p:nvPr/>
        </p:nvSpPr>
        <p:spPr bwMode="gray">
          <a:xfrm>
            <a:off x="951541" y="4555688"/>
            <a:ext cx="2771684" cy="830997"/>
          </a:xfrm>
          <a:prstGeom prst="rect">
            <a:avLst/>
          </a:prstGeom>
          <a:noFill/>
          <a:effectLst>
            <a:outerShdw blurRad="50800" dist="38100" dir="8100000" algn="tr" rotWithShape="0">
              <a:prstClr val="black">
                <a:alpha val="40000"/>
              </a:prstClr>
            </a:outerShdw>
          </a:effectLst>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5400" b="1" i="0" u="none" strike="noStrike" kern="1200" cap="none" spc="0" normalizeH="0" baseline="0" noProof="0" dirty="0">
                <a:ln>
                  <a:noFill/>
                </a:ln>
                <a:solidFill>
                  <a:schemeClr val="bg1"/>
                </a:solidFill>
                <a:effectLst/>
                <a:uLnTx/>
                <a:uFillTx/>
                <a:latin typeface="Arial"/>
                <a:ea typeface="+mn-ea"/>
                <a:cs typeface="+mn-cs"/>
              </a:rPr>
              <a:t>97%</a:t>
            </a:r>
          </a:p>
        </p:txBody>
      </p:sp>
      <p:sp>
        <p:nvSpPr>
          <p:cNvPr id="17" name="TextBox 16">
            <a:extLst>
              <a:ext uri="{FF2B5EF4-FFF2-40B4-BE49-F238E27FC236}">
                <a16:creationId xmlns:a16="http://schemas.microsoft.com/office/drawing/2014/main" id="{F0B2335A-D16B-7F78-4517-5D50E9D2ACCE}"/>
              </a:ext>
            </a:extLst>
          </p:cNvPr>
          <p:cNvSpPr txBox="1"/>
          <p:nvPr/>
        </p:nvSpPr>
        <p:spPr bwMode="gray">
          <a:xfrm>
            <a:off x="951541" y="5256903"/>
            <a:ext cx="2771684" cy="307777"/>
          </a:xfrm>
          <a:prstGeom prst="rect">
            <a:avLst/>
          </a:prstGeom>
          <a:noFill/>
          <a:effectLst>
            <a:outerShdw blurRad="50800" dist="38100" dir="8100000" algn="tr" rotWithShape="0">
              <a:prstClr val="black">
                <a:alpha val="40000"/>
              </a:prstClr>
            </a:outerShdw>
          </a:effectLst>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2000" b="1" dirty="0">
                <a:solidFill>
                  <a:schemeClr val="bg1"/>
                </a:solidFill>
                <a:latin typeface="Arial"/>
              </a:rPr>
              <a:t>remains used</a:t>
            </a:r>
            <a:r>
              <a:rPr lang="en-US" sz="1400" baseline="80000" dirty="0">
                <a:solidFill>
                  <a:schemeClr val="bg1"/>
                </a:solidFill>
                <a:latin typeface="Arial"/>
              </a:rPr>
              <a:t>1</a:t>
            </a:r>
            <a:endParaRPr lang="en-US" sz="2000" baseline="80000" dirty="0">
              <a:solidFill>
                <a:schemeClr val="bg1"/>
              </a:solidFill>
              <a:latin typeface="Arial"/>
            </a:endParaRPr>
          </a:p>
        </p:txBody>
      </p:sp>
      <p:sp>
        <p:nvSpPr>
          <p:cNvPr id="21" name="Rectangle 20">
            <a:extLst>
              <a:ext uri="{FF2B5EF4-FFF2-40B4-BE49-F238E27FC236}">
                <a16:creationId xmlns:a16="http://schemas.microsoft.com/office/drawing/2014/main" id="{3C537339-2099-D8D3-C79D-6F074E7F22DF}"/>
              </a:ext>
            </a:extLst>
          </p:cNvPr>
          <p:cNvSpPr/>
          <p:nvPr/>
        </p:nvSpPr>
        <p:spPr>
          <a:xfrm>
            <a:off x="1123744" y="4371023"/>
            <a:ext cx="2427279" cy="369329"/>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1600" b="1" dirty="0">
                <a:solidFill>
                  <a:schemeClr val="bg1"/>
                </a:solidFill>
                <a:latin typeface="Arial"/>
              </a:rPr>
              <a:t>YET</a:t>
            </a: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E489FB6B-534E-D297-119B-C9409AFA564A}"/>
              </a:ext>
            </a:extLst>
          </p:cNvPr>
          <p:cNvSpPr/>
          <p:nvPr/>
        </p:nvSpPr>
        <p:spPr>
          <a:xfrm>
            <a:off x="8276760" y="1910226"/>
            <a:ext cx="2619207" cy="553998"/>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GENERATIVE AI:</a:t>
            </a:r>
            <a:br>
              <a:rPr kumimoji="0" lang="en-US" sz="1600" b="1" i="0" u="none" strike="noStrike" kern="1200" cap="none" spc="0" normalizeH="0" baseline="0" noProof="0" dirty="0">
                <a:ln>
                  <a:noFill/>
                </a:ln>
                <a:solidFill>
                  <a:schemeClr val="bg1"/>
                </a:solidFill>
                <a:effectLst/>
                <a:uLnTx/>
                <a:uFillTx/>
                <a:latin typeface="Arial"/>
                <a:ea typeface="+mn-ea"/>
                <a:cs typeface="+mn-cs"/>
              </a:rPr>
            </a:br>
            <a:r>
              <a:rPr kumimoji="0" lang="en-US" sz="1600" b="1" i="0" u="none" strike="noStrike" kern="1200" cap="none" spc="0" normalizeH="0" baseline="0" noProof="0" dirty="0">
                <a:ln>
                  <a:noFill/>
                </a:ln>
                <a:solidFill>
                  <a:schemeClr val="bg1"/>
                </a:solidFill>
                <a:effectLst/>
                <a:uLnTx/>
                <a:uFillTx/>
                <a:latin typeface="Arial"/>
                <a:ea typeface="+mn-ea"/>
                <a:cs typeface="+mn-cs"/>
              </a:rPr>
              <a:t>THE POWER TO UNLOCK TRUE POTENTIAL </a:t>
            </a:r>
          </a:p>
        </p:txBody>
      </p:sp>
      <p:sp>
        <p:nvSpPr>
          <p:cNvPr id="28" name="TextBox 27">
            <a:extLst>
              <a:ext uri="{FF2B5EF4-FFF2-40B4-BE49-F238E27FC236}">
                <a16:creationId xmlns:a16="http://schemas.microsoft.com/office/drawing/2014/main" id="{898211CE-87FF-B512-FD8B-DE5AA762F1A0}"/>
              </a:ext>
            </a:extLst>
          </p:cNvPr>
          <p:cNvSpPr txBox="1"/>
          <p:nvPr/>
        </p:nvSpPr>
        <p:spPr bwMode="gray">
          <a:xfrm>
            <a:off x="8200521" y="2803559"/>
            <a:ext cx="2771684" cy="830997"/>
          </a:xfrm>
          <a:prstGeom prst="rect">
            <a:avLst/>
          </a:prstGeom>
          <a:noFill/>
          <a:effectLst>
            <a:outerShdw blurRad="50800" dist="38100" dir="8100000" algn="tr" rotWithShape="0">
              <a:prstClr val="black">
                <a:alpha val="40000"/>
              </a:prstClr>
            </a:outerShdw>
          </a:effectLst>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5400" b="1" i="0" u="none" strike="noStrike" kern="1200" cap="none" spc="0" normalizeH="0" baseline="0" noProof="0" dirty="0">
                <a:ln>
                  <a:noFill/>
                </a:ln>
                <a:solidFill>
                  <a:schemeClr val="bg1"/>
                </a:solidFill>
                <a:effectLst/>
                <a:uLnTx/>
                <a:uFillTx/>
                <a:latin typeface="Arial"/>
                <a:ea typeface="+mn-ea"/>
                <a:cs typeface="+mn-cs"/>
              </a:rPr>
              <a:t>$1T</a:t>
            </a:r>
          </a:p>
        </p:txBody>
      </p:sp>
      <p:sp>
        <p:nvSpPr>
          <p:cNvPr id="29" name="TextBox 28">
            <a:extLst>
              <a:ext uri="{FF2B5EF4-FFF2-40B4-BE49-F238E27FC236}">
                <a16:creationId xmlns:a16="http://schemas.microsoft.com/office/drawing/2014/main" id="{2A317116-8DD0-7645-0239-7D31983136A1}"/>
              </a:ext>
            </a:extLst>
          </p:cNvPr>
          <p:cNvSpPr txBox="1"/>
          <p:nvPr/>
        </p:nvSpPr>
        <p:spPr>
          <a:xfrm>
            <a:off x="8285723" y="3904486"/>
            <a:ext cx="2601281" cy="738664"/>
          </a:xfrm>
          <a:prstGeom prst="rect">
            <a:avLst/>
          </a:prstGeom>
          <a:noFill/>
        </p:spPr>
        <p:txBody>
          <a:bodyPr wrap="square" lIns="0" tIns="0" rIns="0" bIns="0">
            <a:noAutofit/>
          </a:bodyPr>
          <a:lstStyle>
            <a:defPPr>
              <a:defRPr lang="en-US"/>
            </a:defPPr>
            <a:lvl1pPr marR="0" lvl="0" indent="0" algn="ctr" fontAlgn="auto">
              <a:lnSpc>
                <a:spcPct val="100000"/>
              </a:lnSpc>
              <a:spcBef>
                <a:spcPts val="0"/>
              </a:spcBef>
              <a:spcAft>
                <a:spcPts val="1200"/>
              </a:spcAft>
              <a:buClrTx/>
              <a:buSzTx/>
              <a:buFontTx/>
              <a:buNone/>
              <a:tabLst/>
              <a:defRPr kumimoji="0" sz="1400" u="none" strike="noStrike" cap="none" spc="0" normalizeH="0" baseline="0">
                <a:ln>
                  <a:noFill/>
                </a:ln>
                <a:solidFill>
                  <a:schemeClr val="accent1"/>
                </a:solidFill>
                <a:effectLst/>
                <a:uLnTx/>
                <a:uFillTx/>
                <a:latin typeface="Arial"/>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US" sz="1600" dirty="0">
                <a:solidFill>
                  <a:schemeClr val="bg1"/>
                </a:solidFill>
              </a:rPr>
              <a:t>Unrealized savings potential for the healthcare industry</a:t>
            </a:r>
            <a:r>
              <a:rPr lang="en-US" baseline="30000" dirty="0">
                <a:solidFill>
                  <a:schemeClr val="bg1"/>
                </a:solidFill>
              </a:rPr>
              <a:t>3</a:t>
            </a:r>
            <a:endParaRPr kumimoji="0" lang="en-US" sz="1600" b="0" i="0" u="none" strike="noStrike" kern="1200" cap="none" spc="0" normalizeH="0" baseline="30000" noProof="0" dirty="0">
              <a:ln>
                <a:noFill/>
              </a:ln>
              <a:solidFill>
                <a:schemeClr val="bg1"/>
              </a:solidFill>
              <a:effectLst/>
              <a:uLnTx/>
              <a:uFillTx/>
              <a:latin typeface="Arial"/>
              <a:ea typeface="+mn-ea"/>
              <a:cs typeface="+mn-cs"/>
            </a:endParaRPr>
          </a:p>
        </p:txBody>
      </p:sp>
      <p:sp>
        <p:nvSpPr>
          <p:cNvPr id="3" name="TextBox 2">
            <a:extLst>
              <a:ext uri="{FF2B5EF4-FFF2-40B4-BE49-F238E27FC236}">
                <a16:creationId xmlns:a16="http://schemas.microsoft.com/office/drawing/2014/main" id="{CC966226-CA94-027F-40DC-BF801FC63FCB}"/>
              </a:ext>
            </a:extLst>
          </p:cNvPr>
          <p:cNvSpPr txBox="1"/>
          <p:nvPr/>
        </p:nvSpPr>
        <p:spPr>
          <a:xfrm>
            <a:off x="5508551" y="6289286"/>
            <a:ext cx="5115303" cy="215444"/>
          </a:xfrm>
          <a:prstGeom prst="rect">
            <a:avLst/>
          </a:prstGeom>
          <a:noFill/>
        </p:spPr>
        <p:txBody>
          <a:bodyPr wrap="square">
            <a:spAutoFit/>
          </a:bodyPr>
          <a:lstStyle/>
          <a:p>
            <a:r>
              <a:rPr lang="en-US" sz="800" dirty="0">
                <a:solidFill>
                  <a:schemeClr val="bg1"/>
                </a:solidFill>
              </a:rPr>
              <a:t>1 www.forbes.com/councils/forbestechcouncil/2024/12/03/generative-ai-charting-a-new-course-in-healthcare/</a:t>
            </a:r>
          </a:p>
        </p:txBody>
      </p:sp>
      <p:sp>
        <p:nvSpPr>
          <p:cNvPr id="4" name="TextBox 3">
            <a:extLst>
              <a:ext uri="{FF2B5EF4-FFF2-40B4-BE49-F238E27FC236}">
                <a16:creationId xmlns:a16="http://schemas.microsoft.com/office/drawing/2014/main" id="{A9C1275B-2B2F-0686-DCE8-7E8ADFD4D703}"/>
              </a:ext>
            </a:extLst>
          </p:cNvPr>
          <p:cNvSpPr txBox="1"/>
          <p:nvPr/>
        </p:nvSpPr>
        <p:spPr>
          <a:xfrm>
            <a:off x="5508551" y="6617792"/>
            <a:ext cx="5502826" cy="215444"/>
          </a:xfrm>
          <a:prstGeom prst="rect">
            <a:avLst/>
          </a:prstGeom>
          <a:noFill/>
        </p:spPr>
        <p:txBody>
          <a:bodyPr wrap="square">
            <a:spAutoFit/>
          </a:bodyPr>
          <a:lstStyle/>
          <a:p>
            <a:r>
              <a:rPr lang="en-US" sz="800" dirty="0">
                <a:solidFill>
                  <a:schemeClr val="bg1"/>
                </a:solidFill>
              </a:rPr>
              <a:t>3 www.forbes.com/councils/forbestechcouncil/2024/11/27/generative-ai-in-healthcare-the-benefits-and-challenges/</a:t>
            </a:r>
          </a:p>
        </p:txBody>
      </p:sp>
      <p:sp>
        <p:nvSpPr>
          <p:cNvPr id="10" name="TextBox 9">
            <a:extLst>
              <a:ext uri="{FF2B5EF4-FFF2-40B4-BE49-F238E27FC236}">
                <a16:creationId xmlns:a16="http://schemas.microsoft.com/office/drawing/2014/main" id="{0FEBBB1A-01E3-DF2D-502A-0298E049F07A}"/>
              </a:ext>
            </a:extLst>
          </p:cNvPr>
          <p:cNvSpPr txBox="1"/>
          <p:nvPr/>
        </p:nvSpPr>
        <p:spPr>
          <a:xfrm>
            <a:off x="5508551" y="6454474"/>
            <a:ext cx="5115303" cy="215444"/>
          </a:xfrm>
          <a:prstGeom prst="rect">
            <a:avLst/>
          </a:prstGeom>
          <a:noFill/>
        </p:spPr>
        <p:txBody>
          <a:bodyPr wrap="square">
            <a:spAutoFit/>
          </a:bodyPr>
          <a:lstStyle/>
          <a:p>
            <a:r>
              <a:rPr lang="en-US" sz="800" dirty="0">
                <a:solidFill>
                  <a:schemeClr val="bg1"/>
                </a:solidFill>
              </a:rPr>
              <a:t>2 www.chiefhealthcareexecutive.com/view/most-doctors-worn-down-by-problems-with-sharing-data</a:t>
            </a:r>
          </a:p>
        </p:txBody>
      </p:sp>
      <p:cxnSp>
        <p:nvCxnSpPr>
          <p:cNvPr id="14" name="Straight Connector 13">
            <a:extLst>
              <a:ext uri="{FF2B5EF4-FFF2-40B4-BE49-F238E27FC236}">
                <a16:creationId xmlns:a16="http://schemas.microsoft.com/office/drawing/2014/main" id="{204A8A6A-2043-C10F-D0E4-29BFD0191954}"/>
              </a:ext>
            </a:extLst>
          </p:cNvPr>
          <p:cNvCxnSpPr>
            <a:cxnSpLocks/>
          </p:cNvCxnSpPr>
          <p:nvPr/>
        </p:nvCxnSpPr>
        <p:spPr>
          <a:xfrm>
            <a:off x="4053526" y="1745251"/>
            <a:ext cx="0" cy="384048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C762424-E3DC-1DE2-9324-C780E250961A}"/>
              </a:ext>
            </a:extLst>
          </p:cNvPr>
          <p:cNvCxnSpPr>
            <a:cxnSpLocks/>
          </p:cNvCxnSpPr>
          <p:nvPr/>
        </p:nvCxnSpPr>
        <p:spPr>
          <a:xfrm>
            <a:off x="7806964" y="1745251"/>
            <a:ext cx="0" cy="384048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936729"/>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BDF36-0568-62DA-A594-B1D07CED3586}"/>
              </a:ext>
            </a:extLst>
          </p:cNvPr>
          <p:cNvSpPr>
            <a:spLocks noGrp="1"/>
          </p:cNvSpPr>
          <p:nvPr>
            <p:ph type="title"/>
          </p:nvPr>
        </p:nvSpPr>
        <p:spPr>
          <a:xfrm>
            <a:off x="783039" y="860046"/>
            <a:ext cx="10625921" cy="852627"/>
          </a:xfrm>
          <a:prstGeom prst="rect">
            <a:avLst/>
          </a:prstGeom>
        </p:spPr>
        <p:txBody>
          <a:bodyPr/>
          <a:lstStyle/>
          <a:p>
            <a:r>
              <a:rPr lang="en-US" sz="6000" dirty="0"/>
              <a:t>Questions &amp; </a:t>
            </a:r>
            <a:br>
              <a:rPr lang="en-US" sz="6000" dirty="0"/>
            </a:br>
            <a:r>
              <a:rPr lang="en-US" sz="6000" dirty="0"/>
              <a:t>Open Discussion</a:t>
            </a:r>
            <a:endParaRPr lang="en-US" sz="6600" dirty="0"/>
          </a:p>
        </p:txBody>
      </p:sp>
      <p:pic>
        <p:nvPicPr>
          <p:cNvPr id="7" name="Graphic 6" descr="Badge Question Mark with solid fill">
            <a:extLst>
              <a:ext uri="{FF2B5EF4-FFF2-40B4-BE49-F238E27FC236}">
                <a16:creationId xmlns:a16="http://schemas.microsoft.com/office/drawing/2014/main" id="{B42CC3C9-2625-4F9B-542E-82928A1FAA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74825" y="2841606"/>
            <a:ext cx="2303721" cy="2303721"/>
          </a:xfrm>
          <a:prstGeom prst="rect">
            <a:avLst/>
          </a:prstGeom>
          <a:effectLst>
            <a:outerShdw blurRad="152400" dir="5400000" sx="90000" sy="-19000" rotWithShape="0">
              <a:prstClr val="black">
                <a:alpha val="23000"/>
              </a:prstClr>
            </a:outerShdw>
          </a:effectLst>
        </p:spPr>
      </p:pic>
      <p:sp>
        <p:nvSpPr>
          <p:cNvPr id="3" name="Freeform 9">
            <a:extLst>
              <a:ext uri="{FF2B5EF4-FFF2-40B4-BE49-F238E27FC236}">
                <a16:creationId xmlns:a16="http://schemas.microsoft.com/office/drawing/2014/main" id="{855FE15B-108F-C674-CD05-6F9AE1BE7887}"/>
              </a:ext>
            </a:extLst>
          </p:cNvPr>
          <p:cNvSpPr>
            <a:spLocks noEditPoints="1"/>
          </p:cNvSpPr>
          <p:nvPr/>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extBox 3">
            <a:extLst>
              <a:ext uri="{FF2B5EF4-FFF2-40B4-BE49-F238E27FC236}">
                <a16:creationId xmlns:a16="http://schemas.microsoft.com/office/drawing/2014/main" id="{46711487-74E5-B56C-A014-AD75FCA80CB9}"/>
              </a:ext>
            </a:extLst>
          </p:cNvPr>
          <p:cNvSpPr txBox="1"/>
          <p:nvPr/>
        </p:nvSpPr>
        <p:spPr>
          <a:xfrm>
            <a:off x="4157936" y="5904928"/>
            <a:ext cx="4021584" cy="369332"/>
          </a:xfrm>
          <a:prstGeom prst="rect">
            <a:avLst/>
          </a:prstGeom>
          <a:noFill/>
        </p:spPr>
        <p:txBody>
          <a:bodyPr wrap="square" rtlCol="0">
            <a:spAutoFit/>
          </a:bodyPr>
          <a:lstStyle/>
          <a:p>
            <a:pPr algn="ctr"/>
            <a:r>
              <a:rPr lang="en-US" dirty="0">
                <a:solidFill>
                  <a:schemeClr val="bg1"/>
                </a:solidFill>
              </a:rPr>
              <a:t>Contact us at </a:t>
            </a:r>
            <a:r>
              <a:rPr lang="en-US" dirty="0">
                <a:solidFill>
                  <a:schemeClr val="bg1"/>
                </a:solidFill>
                <a:hlinkClick r:id="rId5">
                  <a:extLst>
                    <a:ext uri="{A12FA001-AC4F-418D-AE19-62706E023703}">
                      <ahyp:hlinkClr xmlns:ahyp="http://schemas.microsoft.com/office/drawing/2018/hyperlinkcolor" val="tx"/>
                    </a:ext>
                  </a:extLst>
                </a:hlinkClick>
              </a:rPr>
              <a:t>events@caqh.org</a:t>
            </a:r>
            <a:r>
              <a:rPr lang="en-US" dirty="0">
                <a:solidFill>
                  <a:schemeClr val="bg1"/>
                </a:solidFill>
              </a:rPr>
              <a:t>   </a:t>
            </a:r>
          </a:p>
        </p:txBody>
      </p:sp>
    </p:spTree>
    <p:extLst>
      <p:ext uri="{BB962C8B-B14F-4D97-AF65-F5344CB8AC3E}">
        <p14:creationId xmlns:p14="http://schemas.microsoft.com/office/powerpoint/2010/main" val="1005077401"/>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3541408-A433-9B55-084E-ED36B6412BD0}"/>
              </a:ext>
            </a:extLst>
          </p:cNvPr>
          <p:cNvSpPr/>
          <p:nvPr/>
        </p:nvSpPr>
        <p:spPr>
          <a:xfrm>
            <a:off x="-11338" y="1627685"/>
            <a:ext cx="12192000" cy="2190171"/>
          </a:xfrm>
          <a:prstGeom prst="rect">
            <a:avLst/>
          </a:prstGeom>
          <a:gradFill>
            <a:gsLst>
              <a:gs pos="11000">
                <a:schemeClr val="accent1"/>
              </a:gs>
              <a:gs pos="100000">
                <a:schemeClr val="accent2">
                  <a:lumMod val="60000"/>
                  <a:lumOff val="4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9" name="Text Placeholder 8">
            <a:extLst>
              <a:ext uri="{FF2B5EF4-FFF2-40B4-BE49-F238E27FC236}">
                <a16:creationId xmlns:a16="http://schemas.microsoft.com/office/drawing/2014/main" id="{DE0B14BA-7492-B2E3-5D31-8147D980FD43}"/>
              </a:ext>
            </a:extLst>
          </p:cNvPr>
          <p:cNvSpPr>
            <a:spLocks noGrp="1"/>
          </p:cNvSpPr>
          <p:nvPr>
            <p:ph type="body" sz="quarter" idx="16"/>
          </p:nvPr>
        </p:nvSpPr>
        <p:spPr>
          <a:xfrm>
            <a:off x="775504" y="270799"/>
            <a:ext cx="10625921" cy="450850"/>
          </a:xfrm>
        </p:spPr>
        <p:txBody>
          <a:bodyPr/>
          <a:lstStyle/>
          <a:p>
            <a:pPr marL="0" indent="0">
              <a:buNone/>
            </a:pPr>
            <a:r>
              <a:rPr lang="en-US" sz="1400">
                <a:solidFill>
                  <a:schemeClr val="accent2"/>
                </a:solidFill>
              </a:rPr>
              <a:t>2023 Index Insights </a:t>
            </a:r>
          </a:p>
        </p:txBody>
      </p:sp>
      <p:sp>
        <p:nvSpPr>
          <p:cNvPr id="2" name="Title 1">
            <a:extLst>
              <a:ext uri="{FF2B5EF4-FFF2-40B4-BE49-F238E27FC236}">
                <a16:creationId xmlns:a16="http://schemas.microsoft.com/office/drawing/2014/main" id="{69F35B21-08C7-3B01-334B-E330FBDC9520}"/>
              </a:ext>
            </a:extLst>
          </p:cNvPr>
          <p:cNvSpPr>
            <a:spLocks noGrp="1"/>
          </p:cNvSpPr>
          <p:nvPr>
            <p:ph type="title"/>
          </p:nvPr>
        </p:nvSpPr>
        <p:spPr>
          <a:xfrm>
            <a:off x="752437" y="815313"/>
            <a:ext cx="10625921" cy="496142"/>
          </a:xfrm>
        </p:spPr>
        <p:txBody>
          <a:bodyPr anchor="ctr">
            <a:normAutofit/>
          </a:bodyPr>
          <a:lstStyle/>
          <a:p>
            <a:r>
              <a:rPr lang="en-US"/>
              <a:t>Industry Call to Action</a:t>
            </a:r>
          </a:p>
        </p:txBody>
      </p:sp>
      <p:cxnSp>
        <p:nvCxnSpPr>
          <p:cNvPr id="3" name="Straight Connector 2">
            <a:extLst>
              <a:ext uri="{FF2B5EF4-FFF2-40B4-BE49-F238E27FC236}">
                <a16:creationId xmlns:a16="http://schemas.microsoft.com/office/drawing/2014/main" id="{68DC3306-40D0-076D-2197-60FBC2F8CB99}"/>
              </a:ext>
            </a:extLst>
          </p:cNvPr>
          <p:cNvCxnSpPr>
            <a:cxnSpLocks/>
          </p:cNvCxnSpPr>
          <p:nvPr/>
        </p:nvCxnSpPr>
        <p:spPr>
          <a:xfrm>
            <a:off x="2851417" y="2277632"/>
            <a:ext cx="6489166"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0A241FD-F8AF-CD72-E183-BF8485E7E279}"/>
              </a:ext>
            </a:extLst>
          </p:cNvPr>
          <p:cNvSpPr txBox="1"/>
          <p:nvPr/>
        </p:nvSpPr>
        <p:spPr>
          <a:xfrm>
            <a:off x="854615" y="2850520"/>
            <a:ext cx="3079203" cy="738664"/>
          </a:xfrm>
          <a:prstGeom prst="rect">
            <a:avLst/>
          </a:prstGeom>
          <a:noFill/>
        </p:spPr>
        <p:txBody>
          <a:bodyPr wrap="square" lIns="0" rIns="0" rtlCol="0">
            <a:spAutoFit/>
          </a:bodyPr>
          <a:lstStyle/>
          <a:p>
            <a:pPr marL="0" marR="0" lvl="0" indent="0" algn="ctr" defTabSz="914330" rtl="0" eaLnBrk="1" fontAlgn="auto" latinLnBrk="0" hangingPunct="1">
              <a:lnSpc>
                <a:spcPct val="100000"/>
              </a:lnSpc>
              <a:spcBef>
                <a:spcPts val="0"/>
              </a:spcBef>
              <a:spcAft>
                <a:spcPts val="0"/>
              </a:spcAft>
              <a:buClrTx/>
              <a:buSzTx/>
              <a:buFontTx/>
              <a:buNone/>
              <a:tabLst/>
              <a:defRPr/>
            </a:pPr>
            <a:r>
              <a:rPr lang="en-US" sz="1400" b="1" spc="50">
                <a:solidFill>
                  <a:schemeClr val="bg1"/>
                </a:solidFill>
                <a:latin typeface="+mj-lt"/>
              </a:rPr>
              <a:t>Continue Advancing Automation with an Eye Towards New Opportunities and Threats</a:t>
            </a:r>
          </a:p>
        </p:txBody>
      </p:sp>
      <p:sp>
        <p:nvSpPr>
          <p:cNvPr id="8" name="TextBox 7">
            <a:extLst>
              <a:ext uri="{FF2B5EF4-FFF2-40B4-BE49-F238E27FC236}">
                <a16:creationId xmlns:a16="http://schemas.microsoft.com/office/drawing/2014/main" id="{03AE952A-864E-7363-ABC7-F2FDB8FB2414}"/>
              </a:ext>
            </a:extLst>
          </p:cNvPr>
          <p:cNvSpPr txBox="1"/>
          <p:nvPr/>
        </p:nvSpPr>
        <p:spPr>
          <a:xfrm>
            <a:off x="4858648" y="2850520"/>
            <a:ext cx="2513260" cy="523220"/>
          </a:xfrm>
          <a:prstGeom prst="rect">
            <a:avLst/>
          </a:prstGeom>
          <a:noFill/>
        </p:spPr>
        <p:txBody>
          <a:bodyPr wrap="square" lIns="0" rIns="0" rtlCol="0">
            <a:spAutoFit/>
          </a:bodyPr>
          <a:lstStyle/>
          <a:p>
            <a:pPr marL="0" marR="0" lvl="0" indent="0" algn="ctr" defTabSz="914330" rtl="0" eaLnBrk="1" fontAlgn="auto" latinLnBrk="0" hangingPunct="1">
              <a:lnSpc>
                <a:spcPct val="100000"/>
              </a:lnSpc>
              <a:spcBef>
                <a:spcPts val="0"/>
              </a:spcBef>
              <a:spcAft>
                <a:spcPts val="0"/>
              </a:spcAft>
              <a:buClrTx/>
              <a:buSzTx/>
              <a:buFontTx/>
              <a:buNone/>
              <a:tabLst/>
              <a:defRPr/>
            </a:pPr>
            <a:r>
              <a:rPr kumimoji="0" lang="en-US" sz="1400" b="1" u="none" strike="noStrike" kern="1200" cap="none" spc="50" normalizeH="0" baseline="0" noProof="0">
                <a:ln>
                  <a:noFill/>
                </a:ln>
                <a:solidFill>
                  <a:schemeClr val="bg1"/>
                </a:solidFill>
                <a:effectLst/>
                <a:uLnTx/>
                <a:uFillTx/>
                <a:latin typeface="+mj-lt"/>
                <a:ea typeface="+mn-ea"/>
                <a:cs typeface="+mn-cs"/>
              </a:rPr>
              <a:t>Identify Time-Saving Opportunities for Providers</a:t>
            </a:r>
          </a:p>
        </p:txBody>
      </p:sp>
      <p:sp>
        <p:nvSpPr>
          <p:cNvPr id="16" name="TextBox 15">
            <a:extLst>
              <a:ext uri="{FF2B5EF4-FFF2-40B4-BE49-F238E27FC236}">
                <a16:creationId xmlns:a16="http://schemas.microsoft.com/office/drawing/2014/main" id="{81126554-0D09-DFA9-19E1-051AC643A61C}"/>
              </a:ext>
            </a:extLst>
          </p:cNvPr>
          <p:cNvSpPr txBox="1"/>
          <p:nvPr/>
        </p:nvSpPr>
        <p:spPr>
          <a:xfrm>
            <a:off x="775504" y="3937920"/>
            <a:ext cx="3271020" cy="2031325"/>
          </a:xfrm>
          <a:prstGeom prst="rect">
            <a:avLst/>
          </a:prstGeom>
          <a:noFill/>
        </p:spPr>
        <p:txBody>
          <a:bodyPr wrap="square" rtlCol="0">
            <a:spAutoFit/>
          </a:bodyPr>
          <a:lstStyle/>
          <a:p>
            <a:pPr lvl="0"/>
            <a:r>
              <a:rPr lang="en-US" sz="1400" dirty="0"/>
              <a:t>The 2023 CAQH Index found that, while adoption of automated workflows increased for the majority of processes, staffing shortages, security challenges and increased time required to conduct transactions contributed to higher spending – 50% for medical and 18% for dental – on transactions tracked by the report.</a:t>
            </a:r>
          </a:p>
        </p:txBody>
      </p:sp>
      <p:sp>
        <p:nvSpPr>
          <p:cNvPr id="17" name="TextBox 16">
            <a:extLst>
              <a:ext uri="{FF2B5EF4-FFF2-40B4-BE49-F238E27FC236}">
                <a16:creationId xmlns:a16="http://schemas.microsoft.com/office/drawing/2014/main" id="{AF4D0E3B-254B-5252-785A-73D97716F2EA}"/>
              </a:ext>
            </a:extLst>
          </p:cNvPr>
          <p:cNvSpPr txBox="1"/>
          <p:nvPr/>
        </p:nvSpPr>
        <p:spPr>
          <a:xfrm>
            <a:off x="8326032" y="3937920"/>
            <a:ext cx="3445092" cy="2477601"/>
          </a:xfrm>
          <a:prstGeom prst="rect">
            <a:avLst/>
          </a:prstGeom>
          <a:noFill/>
        </p:spPr>
        <p:txBody>
          <a:bodyPr wrap="square" rtlCol="0">
            <a:spAutoFit/>
          </a:bodyPr>
          <a:lstStyle/>
          <a:p>
            <a:pPr lvl="0">
              <a:spcAft>
                <a:spcPts val="600"/>
              </a:spcAft>
            </a:pPr>
            <a:r>
              <a:rPr lang="en-US" sz="1400" i="1" dirty="0"/>
              <a:t>“With the data and technologies available to us today, we have the power to transform the way we conduct the business of healthcare. However, as an industry, we must align around consistent processes that enable providers to minimize the time spent learning new workflows. This is particularly important given the current labor shortage.”</a:t>
            </a:r>
          </a:p>
          <a:p>
            <a:pPr lvl="0"/>
            <a:r>
              <a:rPr lang="en-US" sz="1200" dirty="0"/>
              <a:t>Erin Weber, Chief Policy and Research Officer </a:t>
            </a:r>
            <a:br>
              <a:rPr lang="en-US" sz="1200" dirty="0"/>
            </a:br>
            <a:r>
              <a:rPr lang="en-US" sz="1200" dirty="0"/>
              <a:t>at CAQH</a:t>
            </a:r>
          </a:p>
        </p:txBody>
      </p:sp>
      <p:sp>
        <p:nvSpPr>
          <p:cNvPr id="19" name="TextBox 18">
            <a:extLst>
              <a:ext uri="{FF2B5EF4-FFF2-40B4-BE49-F238E27FC236}">
                <a16:creationId xmlns:a16="http://schemas.microsoft.com/office/drawing/2014/main" id="{8FF9464E-F031-59D7-CC5A-95B0584E1553}"/>
              </a:ext>
            </a:extLst>
          </p:cNvPr>
          <p:cNvSpPr txBox="1"/>
          <p:nvPr/>
        </p:nvSpPr>
        <p:spPr>
          <a:xfrm>
            <a:off x="8326032" y="2850520"/>
            <a:ext cx="2949331" cy="523220"/>
          </a:xfrm>
          <a:prstGeom prst="rect">
            <a:avLst/>
          </a:prstGeom>
          <a:noFill/>
        </p:spPr>
        <p:txBody>
          <a:bodyPr wrap="square" lIns="0" rIns="0" rtlCol="0">
            <a:spAutoFit/>
          </a:bodyPr>
          <a:lstStyle/>
          <a:p>
            <a:pPr marL="0" marR="0" lvl="0" indent="0" algn="ctr" defTabSz="914330" rtl="0" eaLnBrk="1" fontAlgn="auto" latinLnBrk="0" hangingPunct="1">
              <a:lnSpc>
                <a:spcPct val="100000"/>
              </a:lnSpc>
              <a:spcBef>
                <a:spcPts val="0"/>
              </a:spcBef>
              <a:spcAft>
                <a:spcPts val="0"/>
              </a:spcAft>
              <a:buClrTx/>
              <a:buSzTx/>
              <a:buFontTx/>
              <a:buNone/>
              <a:tabLst/>
              <a:defRPr/>
            </a:pPr>
            <a:r>
              <a:rPr kumimoji="0" lang="en-US" sz="1400" b="1" u="none" strike="noStrike" kern="1200" cap="none" spc="50" normalizeH="0" baseline="0" noProof="0">
                <a:ln>
                  <a:noFill/>
                </a:ln>
                <a:solidFill>
                  <a:schemeClr val="bg1"/>
                </a:solidFill>
                <a:effectLst/>
                <a:uLnTx/>
                <a:uFillTx/>
                <a:latin typeface="+mj-lt"/>
                <a:ea typeface="+mn-ea"/>
                <a:cs typeface="+mn-cs"/>
              </a:rPr>
              <a:t>Understand Emerging Technologies</a:t>
            </a:r>
          </a:p>
        </p:txBody>
      </p:sp>
      <p:sp>
        <p:nvSpPr>
          <p:cNvPr id="23" name="TextBox 22">
            <a:extLst>
              <a:ext uri="{FF2B5EF4-FFF2-40B4-BE49-F238E27FC236}">
                <a16:creationId xmlns:a16="http://schemas.microsoft.com/office/drawing/2014/main" id="{E93BCFBA-EED9-6FD3-C3D9-1D0D9AABBA4A}"/>
              </a:ext>
            </a:extLst>
          </p:cNvPr>
          <p:cNvSpPr txBox="1"/>
          <p:nvPr/>
        </p:nvSpPr>
        <p:spPr>
          <a:xfrm>
            <a:off x="4422293" y="3937920"/>
            <a:ext cx="3544398" cy="2292935"/>
          </a:xfrm>
          <a:prstGeom prst="rect">
            <a:avLst/>
          </a:prstGeom>
          <a:noFill/>
        </p:spPr>
        <p:txBody>
          <a:bodyPr wrap="square" rtlCol="0">
            <a:spAutoFit/>
          </a:bodyPr>
          <a:lstStyle/>
          <a:p>
            <a:pPr lvl="0">
              <a:spcAft>
                <a:spcPts val="600"/>
              </a:spcAft>
            </a:pPr>
            <a:r>
              <a:rPr lang="en-US" sz="1400" i="1" dirty="0"/>
              <a:t>“At a time when physician burnout is reaching crisis levels, the industry needs to work together to reduce administrative inefficiency, freeing providers to spend more time with patients and, ultimately, impacting the quality of care. We look forward to working with plans, providers and other stakeholders to drive these improvements forward.”</a:t>
            </a:r>
          </a:p>
          <a:p>
            <a:pPr lvl="0"/>
            <a:r>
              <a:rPr lang="en-US" sz="1200" dirty="0"/>
              <a:t>Sarah Ahmad, Chief Executive Officer at CAQH</a:t>
            </a:r>
          </a:p>
        </p:txBody>
      </p:sp>
      <p:grpSp>
        <p:nvGrpSpPr>
          <p:cNvPr id="27" name="Group 26">
            <a:extLst>
              <a:ext uri="{FF2B5EF4-FFF2-40B4-BE49-F238E27FC236}">
                <a16:creationId xmlns:a16="http://schemas.microsoft.com/office/drawing/2014/main" id="{2A144CB4-4952-4059-6906-42158AC42082}"/>
              </a:ext>
            </a:extLst>
          </p:cNvPr>
          <p:cNvGrpSpPr/>
          <p:nvPr/>
        </p:nvGrpSpPr>
        <p:grpSpPr>
          <a:xfrm>
            <a:off x="5638005" y="1820432"/>
            <a:ext cx="914400" cy="914400"/>
            <a:chOff x="666138" y="2467789"/>
            <a:chExt cx="914400" cy="914400"/>
          </a:xfrm>
        </p:grpSpPr>
        <p:sp>
          <p:nvSpPr>
            <p:cNvPr id="28" name="Oval 27">
              <a:extLst>
                <a:ext uri="{FF2B5EF4-FFF2-40B4-BE49-F238E27FC236}">
                  <a16:creationId xmlns:a16="http://schemas.microsoft.com/office/drawing/2014/main" id="{64AD1FF4-D4AD-2A1B-2FA1-296F89694925}"/>
                </a:ext>
              </a:extLst>
            </p:cNvPr>
            <p:cNvSpPr/>
            <p:nvPr/>
          </p:nvSpPr>
          <p:spPr>
            <a:xfrm>
              <a:off x="666138" y="246778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aphic 15">
              <a:extLst>
                <a:ext uri="{FF2B5EF4-FFF2-40B4-BE49-F238E27FC236}">
                  <a16:creationId xmlns:a16="http://schemas.microsoft.com/office/drawing/2014/main" id="{BEFE1A64-1894-77B1-3C6E-572AF4B4D79D}"/>
                </a:ext>
              </a:extLst>
            </p:cNvPr>
            <p:cNvGrpSpPr/>
            <p:nvPr/>
          </p:nvGrpSpPr>
          <p:grpSpPr>
            <a:xfrm>
              <a:off x="852445" y="2609914"/>
              <a:ext cx="551814" cy="598171"/>
              <a:chOff x="5694044" y="2948939"/>
              <a:chExt cx="827722" cy="897255"/>
            </a:xfrm>
            <a:solidFill>
              <a:schemeClr val="bg1"/>
            </a:solidFill>
          </p:grpSpPr>
          <p:sp>
            <p:nvSpPr>
              <p:cNvPr id="30" name="Freeform 28">
                <a:extLst>
                  <a:ext uri="{FF2B5EF4-FFF2-40B4-BE49-F238E27FC236}">
                    <a16:creationId xmlns:a16="http://schemas.microsoft.com/office/drawing/2014/main" id="{4C3C0836-367D-D3FC-DEE4-EC8E6A2648E9}"/>
                  </a:ext>
                </a:extLst>
              </p:cNvPr>
              <p:cNvSpPr/>
              <p:nvPr/>
            </p:nvSpPr>
            <p:spPr>
              <a:xfrm>
                <a:off x="6281291" y="3537585"/>
                <a:ext cx="123318" cy="254317"/>
              </a:xfrm>
              <a:custGeom>
                <a:avLst/>
                <a:gdLst>
                  <a:gd name="connsiteX0" fmla="*/ 67121 w 123318"/>
                  <a:gd name="connsiteY0" fmla="*/ 118110 h 254317"/>
                  <a:gd name="connsiteX1" fmla="*/ 67121 w 123318"/>
                  <a:gd name="connsiteY1" fmla="*/ 118110 h 254317"/>
                  <a:gd name="connsiteX2" fmla="*/ 65216 w 123318"/>
                  <a:gd name="connsiteY2" fmla="*/ 117157 h 254317"/>
                  <a:gd name="connsiteX3" fmla="*/ 23306 w 123318"/>
                  <a:gd name="connsiteY3" fmla="*/ 82867 h 254317"/>
                  <a:gd name="connsiteX4" fmla="*/ 62358 w 123318"/>
                  <a:gd name="connsiteY4" fmla="*/ 48577 h 254317"/>
                  <a:gd name="connsiteX5" fmla="*/ 103316 w 123318"/>
                  <a:gd name="connsiteY5" fmla="*/ 65723 h 254317"/>
                  <a:gd name="connsiteX6" fmla="*/ 119508 w 123318"/>
                  <a:gd name="connsiteY6" fmla="*/ 67627 h 254317"/>
                  <a:gd name="connsiteX7" fmla="*/ 123318 w 123318"/>
                  <a:gd name="connsiteY7" fmla="*/ 60007 h 254317"/>
                  <a:gd name="connsiteX8" fmla="*/ 121413 w 123318"/>
                  <a:gd name="connsiteY8" fmla="*/ 51435 h 254317"/>
                  <a:gd name="connsiteX9" fmla="*/ 73788 w 123318"/>
                  <a:gd name="connsiteY9" fmla="*/ 25717 h 254317"/>
                  <a:gd name="connsiteX10" fmla="*/ 73788 w 123318"/>
                  <a:gd name="connsiteY10" fmla="*/ 11430 h 254317"/>
                  <a:gd name="connsiteX11" fmla="*/ 62358 w 123318"/>
                  <a:gd name="connsiteY11" fmla="*/ 0 h 254317"/>
                  <a:gd name="connsiteX12" fmla="*/ 50928 w 123318"/>
                  <a:gd name="connsiteY12" fmla="*/ 11430 h 254317"/>
                  <a:gd name="connsiteX13" fmla="*/ 50928 w 123318"/>
                  <a:gd name="connsiteY13" fmla="*/ 25717 h 254317"/>
                  <a:gd name="connsiteX14" fmla="*/ 446 w 123318"/>
                  <a:gd name="connsiteY14" fmla="*/ 80963 h 254317"/>
                  <a:gd name="connsiteX15" fmla="*/ 56643 w 123318"/>
                  <a:gd name="connsiteY15" fmla="*/ 136207 h 254317"/>
                  <a:gd name="connsiteX16" fmla="*/ 56643 w 123318"/>
                  <a:gd name="connsiteY16" fmla="*/ 136207 h 254317"/>
                  <a:gd name="connsiteX17" fmla="*/ 58548 w 123318"/>
                  <a:gd name="connsiteY17" fmla="*/ 137160 h 254317"/>
                  <a:gd name="connsiteX18" fmla="*/ 100458 w 123318"/>
                  <a:gd name="connsiteY18" fmla="*/ 171450 h 254317"/>
                  <a:gd name="connsiteX19" fmla="*/ 61406 w 123318"/>
                  <a:gd name="connsiteY19" fmla="*/ 205740 h 254317"/>
                  <a:gd name="connsiteX20" fmla="*/ 20448 w 123318"/>
                  <a:gd name="connsiteY20" fmla="*/ 188595 h 254317"/>
                  <a:gd name="connsiteX21" fmla="*/ 4256 w 123318"/>
                  <a:gd name="connsiteY21" fmla="*/ 186690 h 254317"/>
                  <a:gd name="connsiteX22" fmla="*/ 2351 w 123318"/>
                  <a:gd name="connsiteY22" fmla="*/ 202882 h 254317"/>
                  <a:gd name="connsiteX23" fmla="*/ 49976 w 123318"/>
                  <a:gd name="connsiteY23" fmla="*/ 228600 h 254317"/>
                  <a:gd name="connsiteX24" fmla="*/ 49976 w 123318"/>
                  <a:gd name="connsiteY24" fmla="*/ 242888 h 254317"/>
                  <a:gd name="connsiteX25" fmla="*/ 61406 w 123318"/>
                  <a:gd name="connsiteY25" fmla="*/ 254318 h 254317"/>
                  <a:gd name="connsiteX26" fmla="*/ 72836 w 123318"/>
                  <a:gd name="connsiteY26" fmla="*/ 242888 h 254317"/>
                  <a:gd name="connsiteX27" fmla="*/ 72836 w 123318"/>
                  <a:gd name="connsiteY27" fmla="*/ 228600 h 254317"/>
                  <a:gd name="connsiteX28" fmla="*/ 123318 w 123318"/>
                  <a:gd name="connsiteY28" fmla="*/ 173355 h 254317"/>
                  <a:gd name="connsiteX29" fmla="*/ 67121 w 123318"/>
                  <a:gd name="connsiteY29" fmla="*/ 118110 h 254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318" h="254317">
                    <a:moveTo>
                      <a:pt x="67121" y="118110"/>
                    </a:moveTo>
                    <a:lnTo>
                      <a:pt x="67121" y="118110"/>
                    </a:lnTo>
                    <a:cubicBezTo>
                      <a:pt x="66168" y="117157"/>
                      <a:pt x="66168" y="117157"/>
                      <a:pt x="65216" y="117157"/>
                    </a:cubicBezTo>
                    <a:cubicBezTo>
                      <a:pt x="27116" y="104775"/>
                      <a:pt x="23306" y="97155"/>
                      <a:pt x="23306" y="82867"/>
                    </a:cubicBezTo>
                    <a:cubicBezTo>
                      <a:pt x="23306" y="64770"/>
                      <a:pt x="45213" y="48577"/>
                      <a:pt x="62358" y="48577"/>
                    </a:cubicBezTo>
                    <a:cubicBezTo>
                      <a:pt x="79503" y="48577"/>
                      <a:pt x="94743" y="55245"/>
                      <a:pt x="103316" y="65723"/>
                    </a:cubicBezTo>
                    <a:cubicBezTo>
                      <a:pt x="107126" y="70485"/>
                      <a:pt x="114746" y="71438"/>
                      <a:pt x="119508" y="67627"/>
                    </a:cubicBezTo>
                    <a:cubicBezTo>
                      <a:pt x="121413" y="65723"/>
                      <a:pt x="123318" y="62865"/>
                      <a:pt x="123318" y="60007"/>
                    </a:cubicBezTo>
                    <a:cubicBezTo>
                      <a:pt x="123318" y="57150"/>
                      <a:pt x="122366" y="54292"/>
                      <a:pt x="121413" y="51435"/>
                    </a:cubicBezTo>
                    <a:cubicBezTo>
                      <a:pt x="110936" y="38100"/>
                      <a:pt x="93791" y="28575"/>
                      <a:pt x="73788" y="25717"/>
                    </a:cubicBezTo>
                    <a:lnTo>
                      <a:pt x="73788" y="11430"/>
                    </a:lnTo>
                    <a:cubicBezTo>
                      <a:pt x="73788" y="4763"/>
                      <a:pt x="69026" y="0"/>
                      <a:pt x="62358" y="0"/>
                    </a:cubicBezTo>
                    <a:cubicBezTo>
                      <a:pt x="55691" y="0"/>
                      <a:pt x="50928" y="4763"/>
                      <a:pt x="50928" y="11430"/>
                    </a:cubicBezTo>
                    <a:lnTo>
                      <a:pt x="50928" y="25717"/>
                    </a:lnTo>
                    <a:cubicBezTo>
                      <a:pt x="26163" y="31432"/>
                      <a:pt x="446" y="53340"/>
                      <a:pt x="446" y="80963"/>
                    </a:cubicBezTo>
                    <a:cubicBezTo>
                      <a:pt x="446" y="115252"/>
                      <a:pt x="26163" y="126682"/>
                      <a:pt x="56643" y="136207"/>
                    </a:cubicBezTo>
                    <a:lnTo>
                      <a:pt x="56643" y="136207"/>
                    </a:lnTo>
                    <a:cubicBezTo>
                      <a:pt x="56643" y="136207"/>
                      <a:pt x="57596" y="137160"/>
                      <a:pt x="58548" y="137160"/>
                    </a:cubicBezTo>
                    <a:cubicBezTo>
                      <a:pt x="91886" y="147638"/>
                      <a:pt x="100458" y="155257"/>
                      <a:pt x="100458" y="171450"/>
                    </a:cubicBezTo>
                    <a:cubicBezTo>
                      <a:pt x="100458" y="189548"/>
                      <a:pt x="78551" y="205740"/>
                      <a:pt x="61406" y="205740"/>
                    </a:cubicBezTo>
                    <a:cubicBezTo>
                      <a:pt x="44261" y="205740"/>
                      <a:pt x="29021" y="199073"/>
                      <a:pt x="20448" y="188595"/>
                    </a:cubicBezTo>
                    <a:cubicBezTo>
                      <a:pt x="16638" y="183832"/>
                      <a:pt x="9018" y="182880"/>
                      <a:pt x="4256" y="186690"/>
                    </a:cubicBezTo>
                    <a:cubicBezTo>
                      <a:pt x="-507" y="190500"/>
                      <a:pt x="-1459" y="198120"/>
                      <a:pt x="2351" y="202882"/>
                    </a:cubicBezTo>
                    <a:cubicBezTo>
                      <a:pt x="12828" y="216217"/>
                      <a:pt x="29973" y="225742"/>
                      <a:pt x="49976" y="228600"/>
                    </a:cubicBezTo>
                    <a:lnTo>
                      <a:pt x="49976" y="242888"/>
                    </a:lnTo>
                    <a:cubicBezTo>
                      <a:pt x="49976" y="249555"/>
                      <a:pt x="54738" y="254318"/>
                      <a:pt x="61406" y="254318"/>
                    </a:cubicBezTo>
                    <a:cubicBezTo>
                      <a:pt x="68073" y="254318"/>
                      <a:pt x="72836" y="249555"/>
                      <a:pt x="72836" y="242888"/>
                    </a:cubicBezTo>
                    <a:lnTo>
                      <a:pt x="72836" y="228600"/>
                    </a:lnTo>
                    <a:cubicBezTo>
                      <a:pt x="97601" y="222885"/>
                      <a:pt x="123318" y="200977"/>
                      <a:pt x="123318" y="173355"/>
                    </a:cubicBezTo>
                    <a:cubicBezTo>
                      <a:pt x="123318" y="139065"/>
                      <a:pt x="97601" y="127635"/>
                      <a:pt x="67121" y="118110"/>
                    </a:cubicBezTo>
                    <a:close/>
                  </a:path>
                </a:pathLst>
              </a:custGeom>
              <a:grpFill/>
              <a:ln w="9525" cap="flat">
                <a:noFill/>
                <a:prstDash val="solid"/>
                <a:miter/>
              </a:ln>
            </p:spPr>
            <p:txBody>
              <a:bodyPr rtlCol="0" anchor="ctr"/>
              <a:lstStyle/>
              <a:p>
                <a:endParaRPr lang="en-US"/>
              </a:p>
            </p:txBody>
          </p:sp>
          <p:sp>
            <p:nvSpPr>
              <p:cNvPr id="31" name="Freeform 29">
                <a:extLst>
                  <a:ext uri="{FF2B5EF4-FFF2-40B4-BE49-F238E27FC236}">
                    <a16:creationId xmlns:a16="http://schemas.microsoft.com/office/drawing/2014/main" id="{C7CBD466-CCD7-643A-FCCA-8D33BB5586D8}"/>
                  </a:ext>
                </a:extLst>
              </p:cNvPr>
              <p:cNvSpPr/>
              <p:nvPr/>
            </p:nvSpPr>
            <p:spPr>
              <a:xfrm>
                <a:off x="6084570" y="3273980"/>
                <a:ext cx="165734" cy="369331"/>
              </a:xfrm>
              <a:custGeom>
                <a:avLst/>
                <a:gdLst>
                  <a:gd name="connsiteX0" fmla="*/ 165735 w 165734"/>
                  <a:gd name="connsiteY0" fmla="*/ 12144 h 369331"/>
                  <a:gd name="connsiteX1" fmla="*/ 161925 w 165734"/>
                  <a:gd name="connsiteY1" fmla="*/ 3572 h 369331"/>
                  <a:gd name="connsiteX2" fmla="*/ 145732 w 165734"/>
                  <a:gd name="connsiteY2" fmla="*/ 3572 h 369331"/>
                  <a:gd name="connsiteX3" fmla="*/ 2857 w 165734"/>
                  <a:gd name="connsiteY3" fmla="*/ 146447 h 369331"/>
                  <a:gd name="connsiteX4" fmla="*/ 2857 w 165734"/>
                  <a:gd name="connsiteY4" fmla="*/ 146447 h 369331"/>
                  <a:gd name="connsiteX5" fmla="*/ 2857 w 165734"/>
                  <a:gd name="connsiteY5" fmla="*/ 146447 h 369331"/>
                  <a:gd name="connsiteX6" fmla="*/ 0 w 165734"/>
                  <a:gd name="connsiteY6" fmla="*/ 154067 h 369331"/>
                  <a:gd name="connsiteX7" fmla="*/ 0 w 165734"/>
                  <a:gd name="connsiteY7" fmla="*/ 154067 h 369331"/>
                  <a:gd name="connsiteX8" fmla="*/ 0 w 165734"/>
                  <a:gd name="connsiteY8" fmla="*/ 154067 h 369331"/>
                  <a:gd name="connsiteX9" fmla="*/ 0 w 165734"/>
                  <a:gd name="connsiteY9" fmla="*/ 154067 h 369331"/>
                  <a:gd name="connsiteX10" fmla="*/ 0 w 165734"/>
                  <a:gd name="connsiteY10" fmla="*/ 155019 h 369331"/>
                  <a:gd name="connsiteX11" fmla="*/ 0 w 165734"/>
                  <a:gd name="connsiteY11" fmla="*/ 357902 h 369331"/>
                  <a:gd name="connsiteX12" fmla="*/ 11430 w 165734"/>
                  <a:gd name="connsiteY12" fmla="*/ 369332 h 369331"/>
                  <a:gd name="connsiteX13" fmla="*/ 22860 w 165734"/>
                  <a:gd name="connsiteY13" fmla="*/ 357902 h 369331"/>
                  <a:gd name="connsiteX14" fmla="*/ 22860 w 165734"/>
                  <a:gd name="connsiteY14" fmla="*/ 159782 h 369331"/>
                  <a:gd name="connsiteX15" fmla="*/ 162877 w 165734"/>
                  <a:gd name="connsiteY15" fmla="*/ 19764 h 369331"/>
                  <a:gd name="connsiteX16" fmla="*/ 165735 w 165734"/>
                  <a:gd name="connsiteY16" fmla="*/ 12144 h 36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5734" h="369331">
                    <a:moveTo>
                      <a:pt x="165735" y="12144"/>
                    </a:moveTo>
                    <a:cubicBezTo>
                      <a:pt x="165735" y="9287"/>
                      <a:pt x="164782" y="6429"/>
                      <a:pt x="161925" y="3572"/>
                    </a:cubicBezTo>
                    <a:cubicBezTo>
                      <a:pt x="157163" y="-1191"/>
                      <a:pt x="150495" y="-1191"/>
                      <a:pt x="145732" y="3572"/>
                    </a:cubicBezTo>
                    <a:lnTo>
                      <a:pt x="2857" y="146447"/>
                    </a:lnTo>
                    <a:cubicBezTo>
                      <a:pt x="2857" y="146447"/>
                      <a:pt x="2857" y="146447"/>
                      <a:pt x="2857" y="146447"/>
                    </a:cubicBezTo>
                    <a:lnTo>
                      <a:pt x="2857" y="146447"/>
                    </a:lnTo>
                    <a:cubicBezTo>
                      <a:pt x="952" y="148352"/>
                      <a:pt x="0" y="151209"/>
                      <a:pt x="0" y="154067"/>
                    </a:cubicBezTo>
                    <a:lnTo>
                      <a:pt x="0" y="154067"/>
                    </a:lnTo>
                    <a:lnTo>
                      <a:pt x="0" y="154067"/>
                    </a:lnTo>
                    <a:cubicBezTo>
                      <a:pt x="0" y="154067"/>
                      <a:pt x="0" y="154067"/>
                      <a:pt x="0" y="154067"/>
                    </a:cubicBezTo>
                    <a:cubicBezTo>
                      <a:pt x="0" y="154067"/>
                      <a:pt x="0" y="154067"/>
                      <a:pt x="0" y="155019"/>
                    </a:cubicBezTo>
                    <a:lnTo>
                      <a:pt x="0" y="357902"/>
                    </a:lnTo>
                    <a:cubicBezTo>
                      <a:pt x="0" y="364569"/>
                      <a:pt x="4763" y="369332"/>
                      <a:pt x="11430" y="369332"/>
                    </a:cubicBezTo>
                    <a:cubicBezTo>
                      <a:pt x="18097" y="369332"/>
                      <a:pt x="22860" y="364569"/>
                      <a:pt x="22860" y="357902"/>
                    </a:cubicBezTo>
                    <a:lnTo>
                      <a:pt x="22860" y="159782"/>
                    </a:lnTo>
                    <a:lnTo>
                      <a:pt x="162877" y="19764"/>
                    </a:lnTo>
                    <a:cubicBezTo>
                      <a:pt x="164782" y="17859"/>
                      <a:pt x="165735" y="15002"/>
                      <a:pt x="165735" y="12144"/>
                    </a:cubicBezTo>
                    <a:close/>
                  </a:path>
                </a:pathLst>
              </a:custGeom>
              <a:grpFill/>
              <a:ln w="9525" cap="flat">
                <a:noFill/>
                <a:prstDash val="solid"/>
                <a:miter/>
              </a:ln>
            </p:spPr>
            <p:txBody>
              <a:bodyPr rtlCol="0" anchor="ctr"/>
              <a:lstStyle/>
              <a:p>
                <a:endParaRPr lang="en-US"/>
              </a:p>
            </p:txBody>
          </p:sp>
          <p:sp>
            <p:nvSpPr>
              <p:cNvPr id="32" name="Freeform 30">
                <a:extLst>
                  <a:ext uri="{FF2B5EF4-FFF2-40B4-BE49-F238E27FC236}">
                    <a16:creationId xmlns:a16="http://schemas.microsoft.com/office/drawing/2014/main" id="{D644E1CE-3000-D999-9B73-1865146DD1EB}"/>
                  </a:ext>
                </a:extLst>
              </p:cNvPr>
              <p:cNvSpPr/>
              <p:nvPr/>
            </p:nvSpPr>
            <p:spPr>
              <a:xfrm>
                <a:off x="5694044" y="2948939"/>
                <a:ext cx="827722" cy="897255"/>
              </a:xfrm>
              <a:custGeom>
                <a:avLst/>
                <a:gdLst>
                  <a:gd name="connsiteX0" fmla="*/ 784860 w 827722"/>
                  <a:gd name="connsiteY0" fmla="*/ 601028 h 897255"/>
                  <a:gd name="connsiteX1" fmla="*/ 803910 w 827722"/>
                  <a:gd name="connsiteY1" fmla="*/ 480060 h 897255"/>
                  <a:gd name="connsiteX2" fmla="*/ 686753 w 827722"/>
                  <a:gd name="connsiteY2" fmla="*/ 197168 h 897255"/>
                  <a:gd name="connsiteX3" fmla="*/ 685800 w 827722"/>
                  <a:gd name="connsiteY3" fmla="*/ 196215 h 897255"/>
                  <a:gd name="connsiteX4" fmla="*/ 684848 w 827722"/>
                  <a:gd name="connsiteY4" fmla="*/ 195263 h 897255"/>
                  <a:gd name="connsiteX5" fmla="*/ 413385 w 827722"/>
                  <a:gd name="connsiteY5" fmla="*/ 78105 h 897255"/>
                  <a:gd name="connsiteX6" fmla="*/ 413385 w 827722"/>
                  <a:gd name="connsiteY6" fmla="*/ 22860 h 897255"/>
                  <a:gd name="connsiteX7" fmla="*/ 466725 w 827722"/>
                  <a:gd name="connsiteY7" fmla="*/ 22860 h 897255"/>
                  <a:gd name="connsiteX8" fmla="*/ 478155 w 827722"/>
                  <a:gd name="connsiteY8" fmla="*/ 11430 h 897255"/>
                  <a:gd name="connsiteX9" fmla="*/ 466725 w 827722"/>
                  <a:gd name="connsiteY9" fmla="*/ 0 h 897255"/>
                  <a:gd name="connsiteX10" fmla="*/ 337185 w 827722"/>
                  <a:gd name="connsiteY10" fmla="*/ 0 h 897255"/>
                  <a:gd name="connsiteX11" fmla="*/ 325755 w 827722"/>
                  <a:gd name="connsiteY11" fmla="*/ 11430 h 897255"/>
                  <a:gd name="connsiteX12" fmla="*/ 337185 w 827722"/>
                  <a:gd name="connsiteY12" fmla="*/ 22860 h 897255"/>
                  <a:gd name="connsiteX13" fmla="*/ 390525 w 827722"/>
                  <a:gd name="connsiteY13" fmla="*/ 22860 h 897255"/>
                  <a:gd name="connsiteX14" fmla="*/ 390525 w 827722"/>
                  <a:gd name="connsiteY14" fmla="*/ 78105 h 897255"/>
                  <a:gd name="connsiteX15" fmla="*/ 119063 w 827722"/>
                  <a:gd name="connsiteY15" fmla="*/ 195263 h 897255"/>
                  <a:gd name="connsiteX16" fmla="*/ 118110 w 827722"/>
                  <a:gd name="connsiteY16" fmla="*/ 196215 h 897255"/>
                  <a:gd name="connsiteX17" fmla="*/ 117157 w 827722"/>
                  <a:gd name="connsiteY17" fmla="*/ 197168 h 897255"/>
                  <a:gd name="connsiteX18" fmla="*/ 0 w 827722"/>
                  <a:gd name="connsiteY18" fmla="*/ 480060 h 897255"/>
                  <a:gd name="connsiteX19" fmla="*/ 117157 w 827722"/>
                  <a:gd name="connsiteY19" fmla="*/ 762953 h 897255"/>
                  <a:gd name="connsiteX20" fmla="*/ 118110 w 827722"/>
                  <a:gd name="connsiteY20" fmla="*/ 763905 h 897255"/>
                  <a:gd name="connsiteX21" fmla="*/ 119063 w 827722"/>
                  <a:gd name="connsiteY21" fmla="*/ 764858 h 897255"/>
                  <a:gd name="connsiteX22" fmla="*/ 401955 w 827722"/>
                  <a:gd name="connsiteY22" fmla="*/ 882015 h 897255"/>
                  <a:gd name="connsiteX23" fmla="*/ 536258 w 827722"/>
                  <a:gd name="connsiteY23" fmla="*/ 859155 h 897255"/>
                  <a:gd name="connsiteX24" fmla="*/ 646748 w 827722"/>
                  <a:gd name="connsiteY24" fmla="*/ 897255 h 897255"/>
                  <a:gd name="connsiteX25" fmla="*/ 827723 w 827722"/>
                  <a:gd name="connsiteY25" fmla="*/ 716280 h 897255"/>
                  <a:gd name="connsiteX26" fmla="*/ 784860 w 827722"/>
                  <a:gd name="connsiteY26" fmla="*/ 601028 h 897255"/>
                  <a:gd name="connsiteX27" fmla="*/ 413385 w 827722"/>
                  <a:gd name="connsiteY27" fmla="*/ 858203 h 897255"/>
                  <a:gd name="connsiteX28" fmla="*/ 413385 w 827722"/>
                  <a:gd name="connsiteY28" fmla="*/ 779145 h 897255"/>
                  <a:gd name="connsiteX29" fmla="*/ 401955 w 827722"/>
                  <a:gd name="connsiteY29" fmla="*/ 767715 h 897255"/>
                  <a:gd name="connsiteX30" fmla="*/ 390525 w 827722"/>
                  <a:gd name="connsiteY30" fmla="*/ 779145 h 897255"/>
                  <a:gd name="connsiteX31" fmla="*/ 390525 w 827722"/>
                  <a:gd name="connsiteY31" fmla="*/ 858203 h 897255"/>
                  <a:gd name="connsiteX32" fmla="*/ 142875 w 827722"/>
                  <a:gd name="connsiteY32" fmla="*/ 755333 h 897255"/>
                  <a:gd name="connsiteX33" fmla="*/ 199072 w 827722"/>
                  <a:gd name="connsiteY33" fmla="*/ 699135 h 897255"/>
                  <a:gd name="connsiteX34" fmla="*/ 199072 w 827722"/>
                  <a:gd name="connsiteY34" fmla="*/ 682943 h 897255"/>
                  <a:gd name="connsiteX35" fmla="*/ 182880 w 827722"/>
                  <a:gd name="connsiteY35" fmla="*/ 682943 h 897255"/>
                  <a:gd name="connsiteX36" fmla="*/ 126682 w 827722"/>
                  <a:gd name="connsiteY36" fmla="*/ 739140 h 897255"/>
                  <a:gd name="connsiteX37" fmla="*/ 23813 w 827722"/>
                  <a:gd name="connsiteY37" fmla="*/ 491490 h 897255"/>
                  <a:gd name="connsiteX38" fmla="*/ 102870 w 827722"/>
                  <a:gd name="connsiteY38" fmla="*/ 491490 h 897255"/>
                  <a:gd name="connsiteX39" fmla="*/ 114300 w 827722"/>
                  <a:gd name="connsiteY39" fmla="*/ 480060 h 897255"/>
                  <a:gd name="connsiteX40" fmla="*/ 102870 w 827722"/>
                  <a:gd name="connsiteY40" fmla="*/ 468630 h 897255"/>
                  <a:gd name="connsiteX41" fmla="*/ 23813 w 827722"/>
                  <a:gd name="connsiteY41" fmla="*/ 468630 h 897255"/>
                  <a:gd name="connsiteX42" fmla="*/ 126682 w 827722"/>
                  <a:gd name="connsiteY42" fmla="*/ 220980 h 897255"/>
                  <a:gd name="connsiteX43" fmla="*/ 182880 w 827722"/>
                  <a:gd name="connsiteY43" fmla="*/ 277178 h 897255"/>
                  <a:gd name="connsiteX44" fmla="*/ 191453 w 827722"/>
                  <a:gd name="connsiteY44" fmla="*/ 280988 h 897255"/>
                  <a:gd name="connsiteX45" fmla="*/ 200025 w 827722"/>
                  <a:gd name="connsiteY45" fmla="*/ 277178 h 897255"/>
                  <a:gd name="connsiteX46" fmla="*/ 200025 w 827722"/>
                  <a:gd name="connsiteY46" fmla="*/ 260985 h 897255"/>
                  <a:gd name="connsiteX47" fmla="*/ 143828 w 827722"/>
                  <a:gd name="connsiteY47" fmla="*/ 204788 h 897255"/>
                  <a:gd name="connsiteX48" fmla="*/ 391478 w 827722"/>
                  <a:gd name="connsiteY48" fmla="*/ 101918 h 897255"/>
                  <a:gd name="connsiteX49" fmla="*/ 391478 w 827722"/>
                  <a:gd name="connsiteY49" fmla="*/ 180975 h 897255"/>
                  <a:gd name="connsiteX50" fmla="*/ 402908 w 827722"/>
                  <a:gd name="connsiteY50" fmla="*/ 192405 h 897255"/>
                  <a:gd name="connsiteX51" fmla="*/ 414338 w 827722"/>
                  <a:gd name="connsiteY51" fmla="*/ 180975 h 897255"/>
                  <a:gd name="connsiteX52" fmla="*/ 414338 w 827722"/>
                  <a:gd name="connsiteY52" fmla="*/ 101918 h 897255"/>
                  <a:gd name="connsiteX53" fmla="*/ 661988 w 827722"/>
                  <a:gd name="connsiteY53" fmla="*/ 204788 h 897255"/>
                  <a:gd name="connsiteX54" fmla="*/ 605790 w 827722"/>
                  <a:gd name="connsiteY54" fmla="*/ 260985 h 897255"/>
                  <a:gd name="connsiteX55" fmla="*/ 605790 w 827722"/>
                  <a:gd name="connsiteY55" fmla="*/ 277178 h 897255"/>
                  <a:gd name="connsiteX56" fmla="*/ 614363 w 827722"/>
                  <a:gd name="connsiteY56" fmla="*/ 280988 h 897255"/>
                  <a:gd name="connsiteX57" fmla="*/ 622935 w 827722"/>
                  <a:gd name="connsiteY57" fmla="*/ 277178 h 897255"/>
                  <a:gd name="connsiteX58" fmla="*/ 679133 w 827722"/>
                  <a:gd name="connsiteY58" fmla="*/ 220980 h 897255"/>
                  <a:gd name="connsiteX59" fmla="*/ 782002 w 827722"/>
                  <a:gd name="connsiteY59" fmla="*/ 468630 h 897255"/>
                  <a:gd name="connsiteX60" fmla="*/ 702945 w 827722"/>
                  <a:gd name="connsiteY60" fmla="*/ 468630 h 897255"/>
                  <a:gd name="connsiteX61" fmla="*/ 691515 w 827722"/>
                  <a:gd name="connsiteY61" fmla="*/ 480060 h 897255"/>
                  <a:gd name="connsiteX62" fmla="*/ 702945 w 827722"/>
                  <a:gd name="connsiteY62" fmla="*/ 491490 h 897255"/>
                  <a:gd name="connsiteX63" fmla="*/ 782002 w 827722"/>
                  <a:gd name="connsiteY63" fmla="*/ 491490 h 897255"/>
                  <a:gd name="connsiteX64" fmla="*/ 768668 w 827722"/>
                  <a:gd name="connsiteY64" fmla="*/ 581978 h 897255"/>
                  <a:gd name="connsiteX65" fmla="*/ 647700 w 827722"/>
                  <a:gd name="connsiteY65" fmla="*/ 535305 h 897255"/>
                  <a:gd name="connsiteX66" fmla="*/ 466725 w 827722"/>
                  <a:gd name="connsiteY66" fmla="*/ 716280 h 897255"/>
                  <a:gd name="connsiteX67" fmla="*/ 517208 w 827722"/>
                  <a:gd name="connsiteY67" fmla="*/ 841058 h 897255"/>
                  <a:gd name="connsiteX68" fmla="*/ 413385 w 827722"/>
                  <a:gd name="connsiteY68" fmla="*/ 858203 h 897255"/>
                  <a:gd name="connsiteX69" fmla="*/ 645795 w 827722"/>
                  <a:gd name="connsiteY69" fmla="*/ 873443 h 897255"/>
                  <a:gd name="connsiteX70" fmla="*/ 488633 w 827722"/>
                  <a:gd name="connsiteY70" fmla="*/ 716280 h 897255"/>
                  <a:gd name="connsiteX71" fmla="*/ 645795 w 827722"/>
                  <a:gd name="connsiteY71" fmla="*/ 559118 h 897255"/>
                  <a:gd name="connsiteX72" fmla="*/ 802958 w 827722"/>
                  <a:gd name="connsiteY72" fmla="*/ 716280 h 897255"/>
                  <a:gd name="connsiteX73" fmla="*/ 645795 w 827722"/>
                  <a:gd name="connsiteY73" fmla="*/ 873443 h 89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827722" h="897255">
                    <a:moveTo>
                      <a:pt x="784860" y="601028"/>
                    </a:moveTo>
                    <a:cubicBezTo>
                      <a:pt x="797243" y="561975"/>
                      <a:pt x="803910" y="521018"/>
                      <a:pt x="803910" y="480060"/>
                    </a:cubicBezTo>
                    <a:cubicBezTo>
                      <a:pt x="803910" y="369570"/>
                      <a:pt x="759143" y="269558"/>
                      <a:pt x="686753" y="197168"/>
                    </a:cubicBezTo>
                    <a:cubicBezTo>
                      <a:pt x="686753" y="197168"/>
                      <a:pt x="686753" y="196215"/>
                      <a:pt x="685800" y="196215"/>
                    </a:cubicBezTo>
                    <a:cubicBezTo>
                      <a:pt x="685800" y="196215"/>
                      <a:pt x="684848" y="196215"/>
                      <a:pt x="684848" y="195263"/>
                    </a:cubicBezTo>
                    <a:cubicBezTo>
                      <a:pt x="614363" y="125730"/>
                      <a:pt x="519113" y="81915"/>
                      <a:pt x="413385" y="78105"/>
                    </a:cubicBezTo>
                    <a:lnTo>
                      <a:pt x="413385" y="22860"/>
                    </a:lnTo>
                    <a:lnTo>
                      <a:pt x="466725" y="22860"/>
                    </a:lnTo>
                    <a:cubicBezTo>
                      <a:pt x="473393" y="22860"/>
                      <a:pt x="478155" y="18098"/>
                      <a:pt x="478155" y="11430"/>
                    </a:cubicBezTo>
                    <a:cubicBezTo>
                      <a:pt x="478155" y="4763"/>
                      <a:pt x="473393" y="0"/>
                      <a:pt x="466725" y="0"/>
                    </a:cubicBezTo>
                    <a:lnTo>
                      <a:pt x="337185" y="0"/>
                    </a:lnTo>
                    <a:cubicBezTo>
                      <a:pt x="330518" y="0"/>
                      <a:pt x="325755" y="4763"/>
                      <a:pt x="325755" y="11430"/>
                    </a:cubicBezTo>
                    <a:cubicBezTo>
                      <a:pt x="325755" y="18098"/>
                      <a:pt x="330518" y="22860"/>
                      <a:pt x="337185" y="22860"/>
                    </a:cubicBezTo>
                    <a:lnTo>
                      <a:pt x="390525" y="22860"/>
                    </a:lnTo>
                    <a:lnTo>
                      <a:pt x="390525" y="78105"/>
                    </a:lnTo>
                    <a:cubicBezTo>
                      <a:pt x="284797" y="80963"/>
                      <a:pt x="188595" y="124778"/>
                      <a:pt x="119063" y="195263"/>
                    </a:cubicBezTo>
                    <a:cubicBezTo>
                      <a:pt x="119063" y="195263"/>
                      <a:pt x="118110" y="195263"/>
                      <a:pt x="118110" y="196215"/>
                    </a:cubicBezTo>
                    <a:cubicBezTo>
                      <a:pt x="118110" y="196215"/>
                      <a:pt x="118110" y="197168"/>
                      <a:pt x="117157" y="197168"/>
                    </a:cubicBezTo>
                    <a:cubicBezTo>
                      <a:pt x="44768" y="269558"/>
                      <a:pt x="0" y="369570"/>
                      <a:pt x="0" y="480060"/>
                    </a:cubicBezTo>
                    <a:cubicBezTo>
                      <a:pt x="0" y="590550"/>
                      <a:pt x="44768" y="690563"/>
                      <a:pt x="117157" y="762953"/>
                    </a:cubicBezTo>
                    <a:cubicBezTo>
                      <a:pt x="117157" y="762953"/>
                      <a:pt x="117157" y="763905"/>
                      <a:pt x="118110" y="763905"/>
                    </a:cubicBezTo>
                    <a:cubicBezTo>
                      <a:pt x="118110" y="763905"/>
                      <a:pt x="119063" y="763905"/>
                      <a:pt x="119063" y="764858"/>
                    </a:cubicBezTo>
                    <a:cubicBezTo>
                      <a:pt x="191453" y="837248"/>
                      <a:pt x="291465" y="882015"/>
                      <a:pt x="401955" y="882015"/>
                    </a:cubicBezTo>
                    <a:cubicBezTo>
                      <a:pt x="447675" y="882015"/>
                      <a:pt x="492443" y="874395"/>
                      <a:pt x="536258" y="859155"/>
                    </a:cubicBezTo>
                    <a:cubicBezTo>
                      <a:pt x="566738" y="882968"/>
                      <a:pt x="604838" y="897255"/>
                      <a:pt x="646748" y="897255"/>
                    </a:cubicBezTo>
                    <a:cubicBezTo>
                      <a:pt x="746760" y="897255"/>
                      <a:pt x="827723" y="816293"/>
                      <a:pt x="827723" y="716280"/>
                    </a:cubicBezTo>
                    <a:cubicBezTo>
                      <a:pt x="826770" y="672465"/>
                      <a:pt x="810577" y="632460"/>
                      <a:pt x="784860" y="601028"/>
                    </a:cubicBezTo>
                    <a:close/>
                    <a:moveTo>
                      <a:pt x="413385" y="858203"/>
                    </a:moveTo>
                    <a:lnTo>
                      <a:pt x="413385" y="779145"/>
                    </a:lnTo>
                    <a:cubicBezTo>
                      <a:pt x="413385" y="772478"/>
                      <a:pt x="408622" y="767715"/>
                      <a:pt x="401955" y="767715"/>
                    </a:cubicBezTo>
                    <a:cubicBezTo>
                      <a:pt x="395288" y="767715"/>
                      <a:pt x="390525" y="772478"/>
                      <a:pt x="390525" y="779145"/>
                    </a:cubicBezTo>
                    <a:lnTo>
                      <a:pt x="390525" y="858203"/>
                    </a:lnTo>
                    <a:cubicBezTo>
                      <a:pt x="295275" y="855345"/>
                      <a:pt x="207645" y="817245"/>
                      <a:pt x="142875" y="755333"/>
                    </a:cubicBezTo>
                    <a:lnTo>
                      <a:pt x="199072" y="699135"/>
                    </a:lnTo>
                    <a:cubicBezTo>
                      <a:pt x="203835" y="694373"/>
                      <a:pt x="203835" y="687705"/>
                      <a:pt x="199072" y="682943"/>
                    </a:cubicBezTo>
                    <a:cubicBezTo>
                      <a:pt x="194310" y="678180"/>
                      <a:pt x="187643" y="678180"/>
                      <a:pt x="182880" y="682943"/>
                    </a:cubicBezTo>
                    <a:lnTo>
                      <a:pt x="126682" y="739140"/>
                    </a:lnTo>
                    <a:cubicBezTo>
                      <a:pt x="65723" y="674370"/>
                      <a:pt x="26670" y="586740"/>
                      <a:pt x="23813" y="491490"/>
                    </a:cubicBezTo>
                    <a:lnTo>
                      <a:pt x="102870" y="491490"/>
                    </a:lnTo>
                    <a:cubicBezTo>
                      <a:pt x="109538" y="491490"/>
                      <a:pt x="114300" y="486728"/>
                      <a:pt x="114300" y="480060"/>
                    </a:cubicBezTo>
                    <a:cubicBezTo>
                      <a:pt x="114300" y="473393"/>
                      <a:pt x="109538" y="468630"/>
                      <a:pt x="102870" y="468630"/>
                    </a:cubicBezTo>
                    <a:lnTo>
                      <a:pt x="23813" y="468630"/>
                    </a:lnTo>
                    <a:cubicBezTo>
                      <a:pt x="26670" y="373380"/>
                      <a:pt x="64770" y="285750"/>
                      <a:pt x="126682" y="220980"/>
                    </a:cubicBezTo>
                    <a:lnTo>
                      <a:pt x="182880" y="277178"/>
                    </a:lnTo>
                    <a:cubicBezTo>
                      <a:pt x="184785" y="279083"/>
                      <a:pt x="187643" y="280988"/>
                      <a:pt x="191453" y="280988"/>
                    </a:cubicBezTo>
                    <a:cubicBezTo>
                      <a:pt x="194310" y="280988"/>
                      <a:pt x="197168" y="280035"/>
                      <a:pt x="200025" y="277178"/>
                    </a:cubicBezTo>
                    <a:cubicBezTo>
                      <a:pt x="204788" y="272415"/>
                      <a:pt x="204788" y="265748"/>
                      <a:pt x="200025" y="260985"/>
                    </a:cubicBezTo>
                    <a:lnTo>
                      <a:pt x="143828" y="204788"/>
                    </a:lnTo>
                    <a:cubicBezTo>
                      <a:pt x="208597" y="143828"/>
                      <a:pt x="296228" y="104775"/>
                      <a:pt x="391478" y="101918"/>
                    </a:cubicBezTo>
                    <a:lnTo>
                      <a:pt x="391478" y="180975"/>
                    </a:lnTo>
                    <a:cubicBezTo>
                      <a:pt x="391478" y="187643"/>
                      <a:pt x="396240" y="192405"/>
                      <a:pt x="402908" y="192405"/>
                    </a:cubicBezTo>
                    <a:cubicBezTo>
                      <a:pt x="409575" y="192405"/>
                      <a:pt x="414338" y="187643"/>
                      <a:pt x="414338" y="180975"/>
                    </a:cubicBezTo>
                    <a:lnTo>
                      <a:pt x="414338" y="101918"/>
                    </a:lnTo>
                    <a:cubicBezTo>
                      <a:pt x="509588" y="104775"/>
                      <a:pt x="597218" y="142875"/>
                      <a:pt x="661988" y="204788"/>
                    </a:cubicBezTo>
                    <a:lnTo>
                      <a:pt x="605790" y="260985"/>
                    </a:lnTo>
                    <a:cubicBezTo>
                      <a:pt x="601028" y="265748"/>
                      <a:pt x="601028" y="272415"/>
                      <a:pt x="605790" y="277178"/>
                    </a:cubicBezTo>
                    <a:cubicBezTo>
                      <a:pt x="607695" y="279083"/>
                      <a:pt x="610553" y="280988"/>
                      <a:pt x="614363" y="280988"/>
                    </a:cubicBezTo>
                    <a:cubicBezTo>
                      <a:pt x="617220" y="280988"/>
                      <a:pt x="620078" y="280035"/>
                      <a:pt x="622935" y="277178"/>
                    </a:cubicBezTo>
                    <a:lnTo>
                      <a:pt x="679133" y="220980"/>
                    </a:lnTo>
                    <a:cubicBezTo>
                      <a:pt x="740093" y="285750"/>
                      <a:pt x="779145" y="373380"/>
                      <a:pt x="782002" y="468630"/>
                    </a:cubicBezTo>
                    <a:lnTo>
                      <a:pt x="702945" y="468630"/>
                    </a:lnTo>
                    <a:cubicBezTo>
                      <a:pt x="696278" y="468630"/>
                      <a:pt x="691515" y="473393"/>
                      <a:pt x="691515" y="480060"/>
                    </a:cubicBezTo>
                    <a:cubicBezTo>
                      <a:pt x="691515" y="486728"/>
                      <a:pt x="696278" y="491490"/>
                      <a:pt x="702945" y="491490"/>
                    </a:cubicBezTo>
                    <a:lnTo>
                      <a:pt x="782002" y="491490"/>
                    </a:lnTo>
                    <a:cubicBezTo>
                      <a:pt x="781050" y="521970"/>
                      <a:pt x="776288" y="552450"/>
                      <a:pt x="768668" y="581978"/>
                    </a:cubicBezTo>
                    <a:cubicBezTo>
                      <a:pt x="736283" y="553403"/>
                      <a:pt x="694373" y="535305"/>
                      <a:pt x="647700" y="535305"/>
                    </a:cubicBezTo>
                    <a:cubicBezTo>
                      <a:pt x="547688" y="535305"/>
                      <a:pt x="466725" y="616268"/>
                      <a:pt x="466725" y="716280"/>
                    </a:cubicBezTo>
                    <a:cubicBezTo>
                      <a:pt x="466725" y="764858"/>
                      <a:pt x="485775" y="808673"/>
                      <a:pt x="517208" y="841058"/>
                    </a:cubicBezTo>
                    <a:cubicBezTo>
                      <a:pt x="482918" y="851535"/>
                      <a:pt x="448628" y="857250"/>
                      <a:pt x="413385" y="858203"/>
                    </a:cubicBezTo>
                    <a:close/>
                    <a:moveTo>
                      <a:pt x="645795" y="873443"/>
                    </a:moveTo>
                    <a:cubicBezTo>
                      <a:pt x="559118" y="873443"/>
                      <a:pt x="488633" y="802958"/>
                      <a:pt x="488633" y="716280"/>
                    </a:cubicBezTo>
                    <a:cubicBezTo>
                      <a:pt x="488633" y="629603"/>
                      <a:pt x="559118" y="559118"/>
                      <a:pt x="645795" y="559118"/>
                    </a:cubicBezTo>
                    <a:cubicBezTo>
                      <a:pt x="732473" y="559118"/>
                      <a:pt x="802958" y="629603"/>
                      <a:pt x="802958" y="716280"/>
                    </a:cubicBezTo>
                    <a:cubicBezTo>
                      <a:pt x="802958" y="802958"/>
                      <a:pt x="732473" y="873443"/>
                      <a:pt x="645795" y="873443"/>
                    </a:cubicBezTo>
                    <a:close/>
                  </a:path>
                </a:pathLst>
              </a:custGeom>
              <a:grpFill/>
              <a:ln w="9525" cap="flat">
                <a:noFill/>
                <a:prstDash val="solid"/>
                <a:miter/>
              </a:ln>
            </p:spPr>
            <p:txBody>
              <a:bodyPr rtlCol="0" anchor="ctr"/>
              <a:lstStyle/>
              <a:p>
                <a:endParaRPr lang="en-US"/>
              </a:p>
            </p:txBody>
          </p:sp>
        </p:grpSp>
      </p:grpSp>
      <p:grpSp>
        <p:nvGrpSpPr>
          <p:cNvPr id="33" name="Group 32">
            <a:extLst>
              <a:ext uri="{FF2B5EF4-FFF2-40B4-BE49-F238E27FC236}">
                <a16:creationId xmlns:a16="http://schemas.microsoft.com/office/drawing/2014/main" id="{2FA3FE94-CE4B-12CE-CBE9-AE77E39F2A00}"/>
              </a:ext>
            </a:extLst>
          </p:cNvPr>
          <p:cNvGrpSpPr/>
          <p:nvPr/>
        </p:nvGrpSpPr>
        <p:grpSpPr>
          <a:xfrm>
            <a:off x="9340583" y="1839800"/>
            <a:ext cx="914400" cy="914400"/>
            <a:chOff x="663223" y="2504373"/>
            <a:chExt cx="914400" cy="914400"/>
          </a:xfrm>
        </p:grpSpPr>
        <p:sp>
          <p:nvSpPr>
            <p:cNvPr id="34" name="Oval 33">
              <a:extLst>
                <a:ext uri="{FF2B5EF4-FFF2-40B4-BE49-F238E27FC236}">
                  <a16:creationId xmlns:a16="http://schemas.microsoft.com/office/drawing/2014/main" id="{DBDC6D12-EFAB-CB8F-CC37-4D56DE8E46DB}"/>
                </a:ext>
              </a:extLst>
            </p:cNvPr>
            <p:cNvSpPr/>
            <p:nvPr/>
          </p:nvSpPr>
          <p:spPr>
            <a:xfrm>
              <a:off x="663223" y="2504373"/>
              <a:ext cx="914400" cy="914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aphic 30">
              <a:extLst>
                <a:ext uri="{FF2B5EF4-FFF2-40B4-BE49-F238E27FC236}">
                  <a16:creationId xmlns:a16="http://schemas.microsoft.com/office/drawing/2014/main" id="{DFC62BDC-5A5B-D410-458D-6E98E9ACD4B3}"/>
                </a:ext>
              </a:extLst>
            </p:cNvPr>
            <p:cNvGrpSpPr/>
            <p:nvPr/>
          </p:nvGrpSpPr>
          <p:grpSpPr>
            <a:xfrm>
              <a:off x="828958" y="2663117"/>
              <a:ext cx="622935" cy="556258"/>
              <a:chOff x="5658802" y="2981325"/>
              <a:chExt cx="934402" cy="834389"/>
            </a:xfrm>
            <a:solidFill>
              <a:schemeClr val="bg1"/>
            </a:solidFill>
          </p:grpSpPr>
          <p:sp>
            <p:nvSpPr>
              <p:cNvPr id="36" name="Freeform 56">
                <a:extLst>
                  <a:ext uri="{FF2B5EF4-FFF2-40B4-BE49-F238E27FC236}">
                    <a16:creationId xmlns:a16="http://schemas.microsoft.com/office/drawing/2014/main" id="{AAD63B65-E31A-1EF2-A48A-39E25E070BB3}"/>
                  </a:ext>
                </a:extLst>
              </p:cNvPr>
              <p:cNvSpPr/>
              <p:nvPr/>
            </p:nvSpPr>
            <p:spPr>
              <a:xfrm>
                <a:off x="5769292" y="3091814"/>
                <a:ext cx="167640" cy="167639"/>
              </a:xfrm>
              <a:custGeom>
                <a:avLst/>
                <a:gdLst>
                  <a:gd name="connsiteX0" fmla="*/ 83820 w 167640"/>
                  <a:gd name="connsiteY0" fmla="*/ 0 h 167639"/>
                  <a:gd name="connsiteX1" fmla="*/ 0 w 167640"/>
                  <a:gd name="connsiteY1" fmla="*/ 83820 h 167639"/>
                  <a:gd name="connsiteX2" fmla="*/ 83820 w 167640"/>
                  <a:gd name="connsiteY2" fmla="*/ 167640 h 167639"/>
                  <a:gd name="connsiteX3" fmla="*/ 167640 w 167640"/>
                  <a:gd name="connsiteY3" fmla="*/ 83820 h 167639"/>
                  <a:gd name="connsiteX4" fmla="*/ 83820 w 167640"/>
                  <a:gd name="connsiteY4" fmla="*/ 0 h 167639"/>
                  <a:gd name="connsiteX5" fmla="*/ 83820 w 167640"/>
                  <a:gd name="connsiteY5" fmla="*/ 146685 h 167639"/>
                  <a:gd name="connsiteX6" fmla="*/ 20955 w 167640"/>
                  <a:gd name="connsiteY6" fmla="*/ 83820 h 167639"/>
                  <a:gd name="connsiteX7" fmla="*/ 83820 w 167640"/>
                  <a:gd name="connsiteY7" fmla="*/ 20955 h 167639"/>
                  <a:gd name="connsiteX8" fmla="*/ 146685 w 167640"/>
                  <a:gd name="connsiteY8" fmla="*/ 83820 h 167639"/>
                  <a:gd name="connsiteX9" fmla="*/ 83820 w 167640"/>
                  <a:gd name="connsiteY9" fmla="*/ 146685 h 16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640" h="167639">
                    <a:moveTo>
                      <a:pt x="83820" y="0"/>
                    </a:moveTo>
                    <a:cubicBezTo>
                      <a:pt x="38100" y="0"/>
                      <a:pt x="0" y="37148"/>
                      <a:pt x="0" y="83820"/>
                    </a:cubicBezTo>
                    <a:cubicBezTo>
                      <a:pt x="0" y="130493"/>
                      <a:pt x="37147" y="167640"/>
                      <a:pt x="83820" y="167640"/>
                    </a:cubicBezTo>
                    <a:cubicBezTo>
                      <a:pt x="129540" y="167640"/>
                      <a:pt x="167640" y="130493"/>
                      <a:pt x="167640" y="83820"/>
                    </a:cubicBezTo>
                    <a:cubicBezTo>
                      <a:pt x="167640" y="37148"/>
                      <a:pt x="129540" y="0"/>
                      <a:pt x="83820" y="0"/>
                    </a:cubicBezTo>
                    <a:close/>
                    <a:moveTo>
                      <a:pt x="83820" y="146685"/>
                    </a:moveTo>
                    <a:cubicBezTo>
                      <a:pt x="48577" y="146685"/>
                      <a:pt x="20955" y="118110"/>
                      <a:pt x="20955" y="83820"/>
                    </a:cubicBezTo>
                    <a:cubicBezTo>
                      <a:pt x="20955" y="48578"/>
                      <a:pt x="49530" y="20955"/>
                      <a:pt x="83820" y="20955"/>
                    </a:cubicBezTo>
                    <a:cubicBezTo>
                      <a:pt x="119062" y="20955"/>
                      <a:pt x="146685" y="49530"/>
                      <a:pt x="146685" y="83820"/>
                    </a:cubicBezTo>
                    <a:cubicBezTo>
                      <a:pt x="146685" y="118110"/>
                      <a:pt x="119062" y="146685"/>
                      <a:pt x="83820" y="146685"/>
                    </a:cubicBezTo>
                    <a:close/>
                  </a:path>
                </a:pathLst>
              </a:custGeom>
              <a:grpFill/>
              <a:ln w="9525" cap="flat">
                <a:noFill/>
                <a:prstDash val="solid"/>
                <a:miter/>
              </a:ln>
            </p:spPr>
            <p:txBody>
              <a:bodyPr rtlCol="0" anchor="ctr"/>
              <a:lstStyle/>
              <a:p>
                <a:endParaRPr lang="en-US"/>
              </a:p>
            </p:txBody>
          </p:sp>
          <p:sp>
            <p:nvSpPr>
              <p:cNvPr id="37" name="Freeform 57">
                <a:extLst>
                  <a:ext uri="{FF2B5EF4-FFF2-40B4-BE49-F238E27FC236}">
                    <a16:creationId xmlns:a16="http://schemas.microsoft.com/office/drawing/2014/main" id="{8FC32241-9796-08F9-E488-A4E19E36CE0C}"/>
                  </a:ext>
                </a:extLst>
              </p:cNvPr>
              <p:cNvSpPr/>
              <p:nvPr/>
            </p:nvSpPr>
            <p:spPr>
              <a:xfrm>
                <a:off x="5658802" y="2981325"/>
                <a:ext cx="387667" cy="386714"/>
              </a:xfrm>
              <a:custGeom>
                <a:avLst/>
                <a:gdLst>
                  <a:gd name="connsiteX0" fmla="*/ 236220 w 387667"/>
                  <a:gd name="connsiteY0" fmla="*/ 331470 h 386714"/>
                  <a:gd name="connsiteX1" fmla="*/ 239077 w 387667"/>
                  <a:gd name="connsiteY1" fmla="*/ 330517 h 386714"/>
                  <a:gd name="connsiteX2" fmla="*/ 259080 w 387667"/>
                  <a:gd name="connsiteY2" fmla="*/ 321945 h 386714"/>
                  <a:gd name="connsiteX3" fmla="*/ 261938 w 387667"/>
                  <a:gd name="connsiteY3" fmla="*/ 320992 h 386714"/>
                  <a:gd name="connsiteX4" fmla="*/ 261938 w 387667"/>
                  <a:gd name="connsiteY4" fmla="*/ 320992 h 386714"/>
                  <a:gd name="connsiteX5" fmla="*/ 300038 w 387667"/>
                  <a:gd name="connsiteY5" fmla="*/ 348615 h 386714"/>
                  <a:gd name="connsiteX6" fmla="*/ 313373 w 387667"/>
                  <a:gd name="connsiteY6" fmla="*/ 347663 h 386714"/>
                  <a:gd name="connsiteX7" fmla="*/ 348615 w 387667"/>
                  <a:gd name="connsiteY7" fmla="*/ 312420 h 386714"/>
                  <a:gd name="connsiteX8" fmla="*/ 349568 w 387667"/>
                  <a:gd name="connsiteY8" fmla="*/ 299085 h 386714"/>
                  <a:gd name="connsiteX9" fmla="*/ 321945 w 387667"/>
                  <a:gd name="connsiteY9" fmla="*/ 260033 h 386714"/>
                  <a:gd name="connsiteX10" fmla="*/ 322898 w 387667"/>
                  <a:gd name="connsiteY10" fmla="*/ 257175 h 386714"/>
                  <a:gd name="connsiteX11" fmla="*/ 331470 w 387667"/>
                  <a:gd name="connsiteY11" fmla="*/ 237173 h 386714"/>
                  <a:gd name="connsiteX12" fmla="*/ 332423 w 387667"/>
                  <a:gd name="connsiteY12" fmla="*/ 234315 h 386714"/>
                  <a:gd name="connsiteX13" fmla="*/ 332423 w 387667"/>
                  <a:gd name="connsiteY13" fmla="*/ 234315 h 386714"/>
                  <a:gd name="connsiteX14" fmla="*/ 379095 w 387667"/>
                  <a:gd name="connsiteY14" fmla="*/ 226695 h 386714"/>
                  <a:gd name="connsiteX15" fmla="*/ 387668 w 387667"/>
                  <a:gd name="connsiteY15" fmla="*/ 217170 h 386714"/>
                  <a:gd name="connsiteX16" fmla="*/ 387668 w 387667"/>
                  <a:gd name="connsiteY16" fmla="*/ 167640 h 386714"/>
                  <a:gd name="connsiteX17" fmla="*/ 379095 w 387667"/>
                  <a:gd name="connsiteY17" fmla="*/ 158115 h 386714"/>
                  <a:gd name="connsiteX18" fmla="*/ 332423 w 387667"/>
                  <a:gd name="connsiteY18" fmla="*/ 151448 h 386714"/>
                  <a:gd name="connsiteX19" fmla="*/ 331470 w 387667"/>
                  <a:gd name="connsiteY19" fmla="*/ 148590 h 386714"/>
                  <a:gd name="connsiteX20" fmla="*/ 322898 w 387667"/>
                  <a:gd name="connsiteY20" fmla="*/ 128588 h 386714"/>
                  <a:gd name="connsiteX21" fmla="*/ 321945 w 387667"/>
                  <a:gd name="connsiteY21" fmla="*/ 125730 h 386714"/>
                  <a:gd name="connsiteX22" fmla="*/ 321945 w 387667"/>
                  <a:gd name="connsiteY22" fmla="*/ 125730 h 386714"/>
                  <a:gd name="connsiteX23" fmla="*/ 349568 w 387667"/>
                  <a:gd name="connsiteY23" fmla="*/ 87630 h 386714"/>
                  <a:gd name="connsiteX24" fmla="*/ 348615 w 387667"/>
                  <a:gd name="connsiteY24" fmla="*/ 74295 h 386714"/>
                  <a:gd name="connsiteX25" fmla="*/ 313373 w 387667"/>
                  <a:gd name="connsiteY25" fmla="*/ 39052 h 386714"/>
                  <a:gd name="connsiteX26" fmla="*/ 300038 w 387667"/>
                  <a:gd name="connsiteY26" fmla="*/ 38100 h 386714"/>
                  <a:gd name="connsiteX27" fmla="*/ 260985 w 387667"/>
                  <a:gd name="connsiteY27" fmla="*/ 65723 h 386714"/>
                  <a:gd name="connsiteX28" fmla="*/ 258127 w 387667"/>
                  <a:gd name="connsiteY28" fmla="*/ 64770 h 386714"/>
                  <a:gd name="connsiteX29" fmla="*/ 238125 w 387667"/>
                  <a:gd name="connsiteY29" fmla="*/ 56198 h 386714"/>
                  <a:gd name="connsiteX30" fmla="*/ 235268 w 387667"/>
                  <a:gd name="connsiteY30" fmla="*/ 55245 h 386714"/>
                  <a:gd name="connsiteX31" fmla="*/ 235268 w 387667"/>
                  <a:gd name="connsiteY31" fmla="*/ 55245 h 386714"/>
                  <a:gd name="connsiteX32" fmla="*/ 227648 w 387667"/>
                  <a:gd name="connsiteY32" fmla="*/ 8573 h 386714"/>
                  <a:gd name="connsiteX33" fmla="*/ 218123 w 387667"/>
                  <a:gd name="connsiteY33" fmla="*/ 0 h 386714"/>
                  <a:gd name="connsiteX34" fmla="*/ 168593 w 387667"/>
                  <a:gd name="connsiteY34" fmla="*/ 0 h 386714"/>
                  <a:gd name="connsiteX35" fmla="*/ 159068 w 387667"/>
                  <a:gd name="connsiteY35" fmla="*/ 8573 h 386714"/>
                  <a:gd name="connsiteX36" fmla="*/ 151448 w 387667"/>
                  <a:gd name="connsiteY36" fmla="*/ 55245 h 386714"/>
                  <a:gd name="connsiteX37" fmla="*/ 148590 w 387667"/>
                  <a:gd name="connsiteY37" fmla="*/ 56198 h 386714"/>
                  <a:gd name="connsiteX38" fmla="*/ 128588 w 387667"/>
                  <a:gd name="connsiteY38" fmla="*/ 64770 h 386714"/>
                  <a:gd name="connsiteX39" fmla="*/ 125730 w 387667"/>
                  <a:gd name="connsiteY39" fmla="*/ 65723 h 386714"/>
                  <a:gd name="connsiteX40" fmla="*/ 125730 w 387667"/>
                  <a:gd name="connsiteY40" fmla="*/ 65723 h 386714"/>
                  <a:gd name="connsiteX41" fmla="*/ 87630 w 387667"/>
                  <a:gd name="connsiteY41" fmla="*/ 38100 h 386714"/>
                  <a:gd name="connsiteX42" fmla="*/ 74295 w 387667"/>
                  <a:gd name="connsiteY42" fmla="*/ 39052 h 386714"/>
                  <a:gd name="connsiteX43" fmla="*/ 39053 w 387667"/>
                  <a:gd name="connsiteY43" fmla="*/ 74295 h 386714"/>
                  <a:gd name="connsiteX44" fmla="*/ 38100 w 387667"/>
                  <a:gd name="connsiteY44" fmla="*/ 87630 h 386714"/>
                  <a:gd name="connsiteX45" fmla="*/ 65723 w 387667"/>
                  <a:gd name="connsiteY45" fmla="*/ 126682 h 386714"/>
                  <a:gd name="connsiteX46" fmla="*/ 65723 w 387667"/>
                  <a:gd name="connsiteY46" fmla="*/ 128588 h 386714"/>
                  <a:gd name="connsiteX47" fmla="*/ 57150 w 387667"/>
                  <a:gd name="connsiteY47" fmla="*/ 148590 h 386714"/>
                  <a:gd name="connsiteX48" fmla="*/ 56198 w 387667"/>
                  <a:gd name="connsiteY48" fmla="*/ 151448 h 386714"/>
                  <a:gd name="connsiteX49" fmla="*/ 56198 w 387667"/>
                  <a:gd name="connsiteY49" fmla="*/ 151448 h 386714"/>
                  <a:gd name="connsiteX50" fmla="*/ 8573 w 387667"/>
                  <a:gd name="connsiteY50" fmla="*/ 159068 h 386714"/>
                  <a:gd name="connsiteX51" fmla="*/ 0 w 387667"/>
                  <a:gd name="connsiteY51" fmla="*/ 168593 h 386714"/>
                  <a:gd name="connsiteX52" fmla="*/ 0 w 387667"/>
                  <a:gd name="connsiteY52" fmla="*/ 218123 h 386714"/>
                  <a:gd name="connsiteX53" fmla="*/ 8573 w 387667"/>
                  <a:gd name="connsiteY53" fmla="*/ 227648 h 386714"/>
                  <a:gd name="connsiteX54" fmla="*/ 55245 w 387667"/>
                  <a:gd name="connsiteY54" fmla="*/ 235267 h 386714"/>
                  <a:gd name="connsiteX55" fmla="*/ 56198 w 387667"/>
                  <a:gd name="connsiteY55" fmla="*/ 238125 h 386714"/>
                  <a:gd name="connsiteX56" fmla="*/ 64770 w 387667"/>
                  <a:gd name="connsiteY56" fmla="*/ 258127 h 386714"/>
                  <a:gd name="connsiteX57" fmla="*/ 65723 w 387667"/>
                  <a:gd name="connsiteY57" fmla="*/ 260985 h 386714"/>
                  <a:gd name="connsiteX58" fmla="*/ 65723 w 387667"/>
                  <a:gd name="connsiteY58" fmla="*/ 260985 h 386714"/>
                  <a:gd name="connsiteX59" fmla="*/ 38100 w 387667"/>
                  <a:gd name="connsiteY59" fmla="*/ 299085 h 386714"/>
                  <a:gd name="connsiteX60" fmla="*/ 39053 w 387667"/>
                  <a:gd name="connsiteY60" fmla="*/ 312420 h 386714"/>
                  <a:gd name="connsiteX61" fmla="*/ 74295 w 387667"/>
                  <a:gd name="connsiteY61" fmla="*/ 347663 h 386714"/>
                  <a:gd name="connsiteX62" fmla="*/ 87630 w 387667"/>
                  <a:gd name="connsiteY62" fmla="*/ 348615 h 386714"/>
                  <a:gd name="connsiteX63" fmla="*/ 126683 w 387667"/>
                  <a:gd name="connsiteY63" fmla="*/ 320992 h 386714"/>
                  <a:gd name="connsiteX64" fmla="*/ 126683 w 387667"/>
                  <a:gd name="connsiteY64" fmla="*/ 320992 h 386714"/>
                  <a:gd name="connsiteX65" fmla="*/ 128588 w 387667"/>
                  <a:gd name="connsiteY65" fmla="*/ 321945 h 386714"/>
                  <a:gd name="connsiteX66" fmla="*/ 148590 w 387667"/>
                  <a:gd name="connsiteY66" fmla="*/ 330517 h 386714"/>
                  <a:gd name="connsiteX67" fmla="*/ 151448 w 387667"/>
                  <a:gd name="connsiteY67" fmla="*/ 331470 h 386714"/>
                  <a:gd name="connsiteX68" fmla="*/ 151448 w 387667"/>
                  <a:gd name="connsiteY68" fmla="*/ 331470 h 386714"/>
                  <a:gd name="connsiteX69" fmla="*/ 159068 w 387667"/>
                  <a:gd name="connsiteY69" fmla="*/ 378142 h 386714"/>
                  <a:gd name="connsiteX70" fmla="*/ 168593 w 387667"/>
                  <a:gd name="connsiteY70" fmla="*/ 386715 h 386714"/>
                  <a:gd name="connsiteX71" fmla="*/ 218123 w 387667"/>
                  <a:gd name="connsiteY71" fmla="*/ 386715 h 386714"/>
                  <a:gd name="connsiteX72" fmla="*/ 227648 w 387667"/>
                  <a:gd name="connsiteY72" fmla="*/ 378142 h 386714"/>
                  <a:gd name="connsiteX73" fmla="*/ 236220 w 387667"/>
                  <a:gd name="connsiteY73" fmla="*/ 331470 h 386714"/>
                  <a:gd name="connsiteX74" fmla="*/ 224790 w 387667"/>
                  <a:gd name="connsiteY74" fmla="*/ 314325 h 386714"/>
                  <a:gd name="connsiteX75" fmla="*/ 217170 w 387667"/>
                  <a:gd name="connsiteY75" fmla="*/ 322898 h 386714"/>
                  <a:gd name="connsiteX76" fmla="*/ 209550 w 387667"/>
                  <a:gd name="connsiteY76" fmla="*/ 367665 h 386714"/>
                  <a:gd name="connsiteX77" fmla="*/ 177165 w 387667"/>
                  <a:gd name="connsiteY77" fmla="*/ 367665 h 386714"/>
                  <a:gd name="connsiteX78" fmla="*/ 177165 w 387667"/>
                  <a:gd name="connsiteY78" fmla="*/ 367665 h 386714"/>
                  <a:gd name="connsiteX79" fmla="*/ 170498 w 387667"/>
                  <a:gd name="connsiteY79" fmla="*/ 321945 h 386714"/>
                  <a:gd name="connsiteX80" fmla="*/ 162878 w 387667"/>
                  <a:gd name="connsiteY80" fmla="*/ 313373 h 386714"/>
                  <a:gd name="connsiteX81" fmla="*/ 130493 w 387667"/>
                  <a:gd name="connsiteY81" fmla="*/ 300038 h 386714"/>
                  <a:gd name="connsiteX82" fmla="*/ 119063 w 387667"/>
                  <a:gd name="connsiteY82" fmla="*/ 300990 h 386714"/>
                  <a:gd name="connsiteX83" fmla="*/ 81915 w 387667"/>
                  <a:gd name="connsiteY83" fmla="*/ 327660 h 386714"/>
                  <a:gd name="connsiteX84" fmla="*/ 81915 w 387667"/>
                  <a:gd name="connsiteY84" fmla="*/ 327660 h 386714"/>
                  <a:gd name="connsiteX85" fmla="*/ 60008 w 387667"/>
                  <a:gd name="connsiteY85" fmla="*/ 304800 h 386714"/>
                  <a:gd name="connsiteX86" fmla="*/ 60008 w 387667"/>
                  <a:gd name="connsiteY86" fmla="*/ 304800 h 386714"/>
                  <a:gd name="connsiteX87" fmla="*/ 86678 w 387667"/>
                  <a:gd name="connsiteY87" fmla="*/ 268605 h 386714"/>
                  <a:gd name="connsiteX88" fmla="*/ 87630 w 387667"/>
                  <a:gd name="connsiteY88" fmla="*/ 257175 h 386714"/>
                  <a:gd name="connsiteX89" fmla="*/ 74295 w 387667"/>
                  <a:gd name="connsiteY89" fmla="*/ 224790 h 386714"/>
                  <a:gd name="connsiteX90" fmla="*/ 65723 w 387667"/>
                  <a:gd name="connsiteY90" fmla="*/ 217170 h 386714"/>
                  <a:gd name="connsiteX91" fmla="*/ 20955 w 387667"/>
                  <a:gd name="connsiteY91" fmla="*/ 209550 h 386714"/>
                  <a:gd name="connsiteX92" fmla="*/ 20955 w 387667"/>
                  <a:gd name="connsiteY92" fmla="*/ 177165 h 386714"/>
                  <a:gd name="connsiteX93" fmla="*/ 20955 w 387667"/>
                  <a:gd name="connsiteY93" fmla="*/ 177165 h 386714"/>
                  <a:gd name="connsiteX94" fmla="*/ 65723 w 387667"/>
                  <a:gd name="connsiteY94" fmla="*/ 170498 h 386714"/>
                  <a:gd name="connsiteX95" fmla="*/ 74295 w 387667"/>
                  <a:gd name="connsiteY95" fmla="*/ 162877 h 386714"/>
                  <a:gd name="connsiteX96" fmla="*/ 87630 w 387667"/>
                  <a:gd name="connsiteY96" fmla="*/ 130493 h 386714"/>
                  <a:gd name="connsiteX97" fmla="*/ 86678 w 387667"/>
                  <a:gd name="connsiteY97" fmla="*/ 119063 h 386714"/>
                  <a:gd name="connsiteX98" fmla="*/ 60008 w 387667"/>
                  <a:gd name="connsiteY98" fmla="*/ 81915 h 386714"/>
                  <a:gd name="connsiteX99" fmla="*/ 60008 w 387667"/>
                  <a:gd name="connsiteY99" fmla="*/ 81915 h 386714"/>
                  <a:gd name="connsiteX100" fmla="*/ 82868 w 387667"/>
                  <a:gd name="connsiteY100" fmla="*/ 59055 h 386714"/>
                  <a:gd name="connsiteX101" fmla="*/ 82868 w 387667"/>
                  <a:gd name="connsiteY101" fmla="*/ 59055 h 386714"/>
                  <a:gd name="connsiteX102" fmla="*/ 119063 w 387667"/>
                  <a:gd name="connsiteY102" fmla="*/ 85725 h 386714"/>
                  <a:gd name="connsiteX103" fmla="*/ 130493 w 387667"/>
                  <a:gd name="connsiteY103" fmla="*/ 86677 h 386714"/>
                  <a:gd name="connsiteX104" fmla="*/ 162878 w 387667"/>
                  <a:gd name="connsiteY104" fmla="*/ 73343 h 386714"/>
                  <a:gd name="connsiteX105" fmla="*/ 170498 w 387667"/>
                  <a:gd name="connsiteY105" fmla="*/ 64770 h 386714"/>
                  <a:gd name="connsiteX106" fmla="*/ 178118 w 387667"/>
                  <a:gd name="connsiteY106" fmla="*/ 20002 h 386714"/>
                  <a:gd name="connsiteX107" fmla="*/ 210502 w 387667"/>
                  <a:gd name="connsiteY107" fmla="*/ 20002 h 386714"/>
                  <a:gd name="connsiteX108" fmla="*/ 210502 w 387667"/>
                  <a:gd name="connsiteY108" fmla="*/ 20002 h 386714"/>
                  <a:gd name="connsiteX109" fmla="*/ 217170 w 387667"/>
                  <a:gd name="connsiteY109" fmla="*/ 64770 h 386714"/>
                  <a:gd name="connsiteX110" fmla="*/ 224790 w 387667"/>
                  <a:gd name="connsiteY110" fmla="*/ 73343 h 386714"/>
                  <a:gd name="connsiteX111" fmla="*/ 257175 w 387667"/>
                  <a:gd name="connsiteY111" fmla="*/ 86677 h 386714"/>
                  <a:gd name="connsiteX112" fmla="*/ 268605 w 387667"/>
                  <a:gd name="connsiteY112" fmla="*/ 85725 h 386714"/>
                  <a:gd name="connsiteX113" fmla="*/ 305753 w 387667"/>
                  <a:gd name="connsiteY113" fmla="*/ 59055 h 386714"/>
                  <a:gd name="connsiteX114" fmla="*/ 305753 w 387667"/>
                  <a:gd name="connsiteY114" fmla="*/ 59055 h 386714"/>
                  <a:gd name="connsiteX115" fmla="*/ 328613 w 387667"/>
                  <a:gd name="connsiteY115" fmla="*/ 81915 h 386714"/>
                  <a:gd name="connsiteX116" fmla="*/ 328613 w 387667"/>
                  <a:gd name="connsiteY116" fmla="*/ 81915 h 386714"/>
                  <a:gd name="connsiteX117" fmla="*/ 301943 w 387667"/>
                  <a:gd name="connsiteY117" fmla="*/ 118110 h 386714"/>
                  <a:gd name="connsiteX118" fmla="*/ 300990 w 387667"/>
                  <a:gd name="connsiteY118" fmla="*/ 129540 h 386714"/>
                  <a:gd name="connsiteX119" fmla="*/ 314325 w 387667"/>
                  <a:gd name="connsiteY119" fmla="*/ 161925 h 386714"/>
                  <a:gd name="connsiteX120" fmla="*/ 322898 w 387667"/>
                  <a:gd name="connsiteY120" fmla="*/ 169545 h 386714"/>
                  <a:gd name="connsiteX121" fmla="*/ 367665 w 387667"/>
                  <a:gd name="connsiteY121" fmla="*/ 177165 h 386714"/>
                  <a:gd name="connsiteX122" fmla="*/ 367665 w 387667"/>
                  <a:gd name="connsiteY122" fmla="*/ 209550 h 386714"/>
                  <a:gd name="connsiteX123" fmla="*/ 367665 w 387667"/>
                  <a:gd name="connsiteY123" fmla="*/ 209550 h 386714"/>
                  <a:gd name="connsiteX124" fmla="*/ 322898 w 387667"/>
                  <a:gd name="connsiteY124" fmla="*/ 217170 h 386714"/>
                  <a:gd name="connsiteX125" fmla="*/ 314325 w 387667"/>
                  <a:gd name="connsiteY125" fmla="*/ 224790 h 386714"/>
                  <a:gd name="connsiteX126" fmla="*/ 300990 w 387667"/>
                  <a:gd name="connsiteY126" fmla="*/ 257175 h 386714"/>
                  <a:gd name="connsiteX127" fmla="*/ 301943 w 387667"/>
                  <a:gd name="connsiteY127" fmla="*/ 268605 h 386714"/>
                  <a:gd name="connsiteX128" fmla="*/ 328613 w 387667"/>
                  <a:gd name="connsiteY128" fmla="*/ 305753 h 386714"/>
                  <a:gd name="connsiteX129" fmla="*/ 305753 w 387667"/>
                  <a:gd name="connsiteY129" fmla="*/ 328613 h 386714"/>
                  <a:gd name="connsiteX130" fmla="*/ 305753 w 387667"/>
                  <a:gd name="connsiteY130" fmla="*/ 328613 h 386714"/>
                  <a:gd name="connsiteX131" fmla="*/ 269558 w 387667"/>
                  <a:gd name="connsiteY131" fmla="*/ 301942 h 386714"/>
                  <a:gd name="connsiteX132" fmla="*/ 259080 w 387667"/>
                  <a:gd name="connsiteY132" fmla="*/ 300990 h 386714"/>
                  <a:gd name="connsiteX133" fmla="*/ 259080 w 387667"/>
                  <a:gd name="connsiteY133" fmla="*/ 300990 h 386714"/>
                  <a:gd name="connsiteX134" fmla="*/ 224790 w 387667"/>
                  <a:gd name="connsiteY134" fmla="*/ 314325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387667" h="386714">
                    <a:moveTo>
                      <a:pt x="236220" y="331470"/>
                    </a:moveTo>
                    <a:lnTo>
                      <a:pt x="239077" y="330517"/>
                    </a:lnTo>
                    <a:cubicBezTo>
                      <a:pt x="245745" y="328613"/>
                      <a:pt x="252413" y="325755"/>
                      <a:pt x="259080" y="321945"/>
                    </a:cubicBezTo>
                    <a:lnTo>
                      <a:pt x="261938" y="320992"/>
                    </a:lnTo>
                    <a:lnTo>
                      <a:pt x="261938" y="320992"/>
                    </a:lnTo>
                    <a:lnTo>
                      <a:pt x="300038" y="348615"/>
                    </a:lnTo>
                    <a:cubicBezTo>
                      <a:pt x="303848" y="351473"/>
                      <a:pt x="309563" y="351473"/>
                      <a:pt x="313373" y="347663"/>
                    </a:cubicBezTo>
                    <a:lnTo>
                      <a:pt x="348615" y="312420"/>
                    </a:lnTo>
                    <a:cubicBezTo>
                      <a:pt x="352425" y="308610"/>
                      <a:pt x="352425" y="303848"/>
                      <a:pt x="349568" y="299085"/>
                    </a:cubicBezTo>
                    <a:lnTo>
                      <a:pt x="321945" y="260033"/>
                    </a:lnTo>
                    <a:lnTo>
                      <a:pt x="322898" y="257175"/>
                    </a:lnTo>
                    <a:cubicBezTo>
                      <a:pt x="325755" y="250508"/>
                      <a:pt x="328613" y="243840"/>
                      <a:pt x="331470" y="237173"/>
                    </a:cubicBezTo>
                    <a:lnTo>
                      <a:pt x="332423" y="234315"/>
                    </a:lnTo>
                    <a:lnTo>
                      <a:pt x="332423" y="234315"/>
                    </a:lnTo>
                    <a:lnTo>
                      <a:pt x="379095" y="226695"/>
                    </a:lnTo>
                    <a:cubicBezTo>
                      <a:pt x="383858" y="225742"/>
                      <a:pt x="387668" y="221933"/>
                      <a:pt x="387668" y="217170"/>
                    </a:cubicBezTo>
                    <a:lnTo>
                      <a:pt x="387668" y="167640"/>
                    </a:lnTo>
                    <a:cubicBezTo>
                      <a:pt x="387668" y="162877"/>
                      <a:pt x="383858" y="158115"/>
                      <a:pt x="379095" y="158115"/>
                    </a:cubicBezTo>
                    <a:lnTo>
                      <a:pt x="332423" y="151448"/>
                    </a:lnTo>
                    <a:lnTo>
                      <a:pt x="331470" y="148590"/>
                    </a:lnTo>
                    <a:cubicBezTo>
                      <a:pt x="329565" y="141923"/>
                      <a:pt x="326708" y="135255"/>
                      <a:pt x="322898" y="128588"/>
                    </a:cubicBezTo>
                    <a:lnTo>
                      <a:pt x="321945" y="125730"/>
                    </a:lnTo>
                    <a:lnTo>
                      <a:pt x="321945" y="125730"/>
                    </a:lnTo>
                    <a:lnTo>
                      <a:pt x="349568" y="87630"/>
                    </a:lnTo>
                    <a:cubicBezTo>
                      <a:pt x="352425" y="83820"/>
                      <a:pt x="352425" y="78105"/>
                      <a:pt x="348615" y="74295"/>
                    </a:cubicBezTo>
                    <a:lnTo>
                      <a:pt x="313373" y="39052"/>
                    </a:lnTo>
                    <a:cubicBezTo>
                      <a:pt x="309563" y="35243"/>
                      <a:pt x="304800" y="35243"/>
                      <a:pt x="300038" y="38100"/>
                    </a:cubicBezTo>
                    <a:lnTo>
                      <a:pt x="260985" y="65723"/>
                    </a:lnTo>
                    <a:lnTo>
                      <a:pt x="258127" y="64770"/>
                    </a:lnTo>
                    <a:cubicBezTo>
                      <a:pt x="251460" y="61913"/>
                      <a:pt x="244793" y="59055"/>
                      <a:pt x="238125" y="56198"/>
                    </a:cubicBezTo>
                    <a:lnTo>
                      <a:pt x="235268" y="55245"/>
                    </a:lnTo>
                    <a:lnTo>
                      <a:pt x="235268" y="55245"/>
                    </a:lnTo>
                    <a:lnTo>
                      <a:pt x="227648" y="8573"/>
                    </a:lnTo>
                    <a:cubicBezTo>
                      <a:pt x="226695" y="3810"/>
                      <a:pt x="222885" y="0"/>
                      <a:pt x="218123" y="0"/>
                    </a:cubicBezTo>
                    <a:lnTo>
                      <a:pt x="168593" y="0"/>
                    </a:lnTo>
                    <a:cubicBezTo>
                      <a:pt x="163830" y="0"/>
                      <a:pt x="159068" y="3810"/>
                      <a:pt x="159068" y="8573"/>
                    </a:cubicBezTo>
                    <a:lnTo>
                      <a:pt x="151448" y="55245"/>
                    </a:lnTo>
                    <a:lnTo>
                      <a:pt x="148590" y="56198"/>
                    </a:lnTo>
                    <a:cubicBezTo>
                      <a:pt x="141923" y="58102"/>
                      <a:pt x="135255" y="60960"/>
                      <a:pt x="128588" y="64770"/>
                    </a:cubicBezTo>
                    <a:lnTo>
                      <a:pt x="125730" y="65723"/>
                    </a:lnTo>
                    <a:lnTo>
                      <a:pt x="125730" y="65723"/>
                    </a:lnTo>
                    <a:lnTo>
                      <a:pt x="87630" y="38100"/>
                    </a:lnTo>
                    <a:cubicBezTo>
                      <a:pt x="83820" y="35243"/>
                      <a:pt x="78105" y="35243"/>
                      <a:pt x="74295" y="39052"/>
                    </a:cubicBezTo>
                    <a:lnTo>
                      <a:pt x="39053" y="74295"/>
                    </a:lnTo>
                    <a:cubicBezTo>
                      <a:pt x="35243" y="78105"/>
                      <a:pt x="35243" y="82868"/>
                      <a:pt x="38100" y="87630"/>
                    </a:cubicBezTo>
                    <a:lnTo>
                      <a:pt x="65723" y="126682"/>
                    </a:lnTo>
                    <a:lnTo>
                      <a:pt x="65723" y="128588"/>
                    </a:lnTo>
                    <a:cubicBezTo>
                      <a:pt x="62865" y="135255"/>
                      <a:pt x="60008" y="141923"/>
                      <a:pt x="57150" y="148590"/>
                    </a:cubicBezTo>
                    <a:lnTo>
                      <a:pt x="56198" y="151448"/>
                    </a:lnTo>
                    <a:lnTo>
                      <a:pt x="56198" y="151448"/>
                    </a:lnTo>
                    <a:lnTo>
                      <a:pt x="8573" y="159068"/>
                    </a:lnTo>
                    <a:cubicBezTo>
                      <a:pt x="3810" y="160020"/>
                      <a:pt x="0" y="163830"/>
                      <a:pt x="0" y="168593"/>
                    </a:cubicBezTo>
                    <a:lnTo>
                      <a:pt x="0" y="218123"/>
                    </a:lnTo>
                    <a:cubicBezTo>
                      <a:pt x="0" y="222885"/>
                      <a:pt x="3810" y="227648"/>
                      <a:pt x="8573" y="227648"/>
                    </a:cubicBezTo>
                    <a:lnTo>
                      <a:pt x="55245" y="235267"/>
                    </a:lnTo>
                    <a:lnTo>
                      <a:pt x="56198" y="238125"/>
                    </a:lnTo>
                    <a:cubicBezTo>
                      <a:pt x="58103" y="244792"/>
                      <a:pt x="60960" y="251460"/>
                      <a:pt x="64770" y="258127"/>
                    </a:cubicBezTo>
                    <a:lnTo>
                      <a:pt x="65723" y="260985"/>
                    </a:lnTo>
                    <a:lnTo>
                      <a:pt x="65723" y="260985"/>
                    </a:lnTo>
                    <a:lnTo>
                      <a:pt x="38100" y="299085"/>
                    </a:lnTo>
                    <a:cubicBezTo>
                      <a:pt x="35243" y="302895"/>
                      <a:pt x="35243" y="308610"/>
                      <a:pt x="39053" y="312420"/>
                    </a:cubicBezTo>
                    <a:lnTo>
                      <a:pt x="74295" y="347663"/>
                    </a:lnTo>
                    <a:cubicBezTo>
                      <a:pt x="78105" y="351473"/>
                      <a:pt x="82868" y="351473"/>
                      <a:pt x="87630" y="348615"/>
                    </a:cubicBezTo>
                    <a:lnTo>
                      <a:pt x="126683" y="320992"/>
                    </a:lnTo>
                    <a:lnTo>
                      <a:pt x="126683" y="320992"/>
                    </a:lnTo>
                    <a:lnTo>
                      <a:pt x="128588" y="321945"/>
                    </a:lnTo>
                    <a:cubicBezTo>
                      <a:pt x="135255" y="324803"/>
                      <a:pt x="141923" y="327660"/>
                      <a:pt x="148590" y="330517"/>
                    </a:cubicBezTo>
                    <a:lnTo>
                      <a:pt x="151448" y="331470"/>
                    </a:lnTo>
                    <a:lnTo>
                      <a:pt x="151448" y="331470"/>
                    </a:lnTo>
                    <a:lnTo>
                      <a:pt x="159068" y="378142"/>
                    </a:lnTo>
                    <a:cubicBezTo>
                      <a:pt x="160020" y="382905"/>
                      <a:pt x="163830" y="386715"/>
                      <a:pt x="168593" y="386715"/>
                    </a:cubicBezTo>
                    <a:lnTo>
                      <a:pt x="218123" y="386715"/>
                    </a:lnTo>
                    <a:cubicBezTo>
                      <a:pt x="222885" y="386715"/>
                      <a:pt x="227648" y="382905"/>
                      <a:pt x="227648" y="378142"/>
                    </a:cubicBezTo>
                    <a:lnTo>
                      <a:pt x="236220" y="331470"/>
                    </a:lnTo>
                    <a:close/>
                    <a:moveTo>
                      <a:pt x="224790" y="314325"/>
                    </a:moveTo>
                    <a:cubicBezTo>
                      <a:pt x="220980" y="315278"/>
                      <a:pt x="218123" y="318135"/>
                      <a:pt x="217170" y="322898"/>
                    </a:cubicBezTo>
                    <a:lnTo>
                      <a:pt x="209550" y="367665"/>
                    </a:lnTo>
                    <a:lnTo>
                      <a:pt x="177165" y="367665"/>
                    </a:lnTo>
                    <a:lnTo>
                      <a:pt x="177165" y="367665"/>
                    </a:lnTo>
                    <a:lnTo>
                      <a:pt x="170498" y="321945"/>
                    </a:lnTo>
                    <a:cubicBezTo>
                      <a:pt x="169545" y="318135"/>
                      <a:pt x="166688" y="314325"/>
                      <a:pt x="162878" y="313373"/>
                    </a:cubicBezTo>
                    <a:cubicBezTo>
                      <a:pt x="151448" y="310515"/>
                      <a:pt x="140970" y="305753"/>
                      <a:pt x="130493" y="300038"/>
                    </a:cubicBezTo>
                    <a:cubicBezTo>
                      <a:pt x="126683" y="298133"/>
                      <a:pt x="122873" y="298133"/>
                      <a:pt x="119063" y="300990"/>
                    </a:cubicBezTo>
                    <a:lnTo>
                      <a:pt x="81915" y="327660"/>
                    </a:lnTo>
                    <a:lnTo>
                      <a:pt x="81915" y="327660"/>
                    </a:lnTo>
                    <a:lnTo>
                      <a:pt x="60008" y="304800"/>
                    </a:lnTo>
                    <a:lnTo>
                      <a:pt x="60008" y="304800"/>
                    </a:lnTo>
                    <a:lnTo>
                      <a:pt x="86678" y="268605"/>
                    </a:lnTo>
                    <a:cubicBezTo>
                      <a:pt x="88583" y="265748"/>
                      <a:pt x="89535" y="260985"/>
                      <a:pt x="87630" y="257175"/>
                    </a:cubicBezTo>
                    <a:cubicBezTo>
                      <a:pt x="81915" y="246698"/>
                      <a:pt x="77153" y="236220"/>
                      <a:pt x="74295" y="224790"/>
                    </a:cubicBezTo>
                    <a:cubicBezTo>
                      <a:pt x="73343" y="220980"/>
                      <a:pt x="70485" y="218123"/>
                      <a:pt x="65723" y="217170"/>
                    </a:cubicBezTo>
                    <a:lnTo>
                      <a:pt x="20955" y="209550"/>
                    </a:lnTo>
                    <a:lnTo>
                      <a:pt x="20955" y="177165"/>
                    </a:lnTo>
                    <a:lnTo>
                      <a:pt x="20955" y="177165"/>
                    </a:lnTo>
                    <a:lnTo>
                      <a:pt x="65723" y="170498"/>
                    </a:lnTo>
                    <a:cubicBezTo>
                      <a:pt x="69533" y="169545"/>
                      <a:pt x="73343" y="166688"/>
                      <a:pt x="74295" y="162877"/>
                    </a:cubicBezTo>
                    <a:cubicBezTo>
                      <a:pt x="77153" y="151448"/>
                      <a:pt x="81915" y="140970"/>
                      <a:pt x="87630" y="130493"/>
                    </a:cubicBezTo>
                    <a:cubicBezTo>
                      <a:pt x="89535" y="126682"/>
                      <a:pt x="89535" y="122873"/>
                      <a:pt x="86678" y="119063"/>
                    </a:cubicBezTo>
                    <a:lnTo>
                      <a:pt x="60008" y="81915"/>
                    </a:lnTo>
                    <a:lnTo>
                      <a:pt x="60008" y="81915"/>
                    </a:lnTo>
                    <a:lnTo>
                      <a:pt x="82868" y="59055"/>
                    </a:lnTo>
                    <a:lnTo>
                      <a:pt x="82868" y="59055"/>
                    </a:lnTo>
                    <a:lnTo>
                      <a:pt x="119063" y="85725"/>
                    </a:lnTo>
                    <a:cubicBezTo>
                      <a:pt x="121920" y="87630"/>
                      <a:pt x="126683" y="88582"/>
                      <a:pt x="130493" y="86677"/>
                    </a:cubicBezTo>
                    <a:cubicBezTo>
                      <a:pt x="140970" y="80963"/>
                      <a:pt x="151448" y="76200"/>
                      <a:pt x="162878" y="73343"/>
                    </a:cubicBezTo>
                    <a:cubicBezTo>
                      <a:pt x="166688" y="72390"/>
                      <a:pt x="169545" y="69532"/>
                      <a:pt x="170498" y="64770"/>
                    </a:cubicBezTo>
                    <a:lnTo>
                      <a:pt x="178118" y="20002"/>
                    </a:lnTo>
                    <a:lnTo>
                      <a:pt x="210502" y="20002"/>
                    </a:lnTo>
                    <a:lnTo>
                      <a:pt x="210502" y="20002"/>
                    </a:lnTo>
                    <a:lnTo>
                      <a:pt x="217170" y="64770"/>
                    </a:lnTo>
                    <a:cubicBezTo>
                      <a:pt x="218123" y="68580"/>
                      <a:pt x="220980" y="72390"/>
                      <a:pt x="224790" y="73343"/>
                    </a:cubicBezTo>
                    <a:cubicBezTo>
                      <a:pt x="236220" y="76200"/>
                      <a:pt x="246698" y="80963"/>
                      <a:pt x="257175" y="86677"/>
                    </a:cubicBezTo>
                    <a:cubicBezTo>
                      <a:pt x="260985" y="88582"/>
                      <a:pt x="264795" y="88582"/>
                      <a:pt x="268605" y="85725"/>
                    </a:cubicBezTo>
                    <a:lnTo>
                      <a:pt x="305753" y="59055"/>
                    </a:lnTo>
                    <a:lnTo>
                      <a:pt x="305753" y="59055"/>
                    </a:lnTo>
                    <a:lnTo>
                      <a:pt x="328613" y="81915"/>
                    </a:lnTo>
                    <a:lnTo>
                      <a:pt x="328613" y="81915"/>
                    </a:lnTo>
                    <a:lnTo>
                      <a:pt x="301943" y="118110"/>
                    </a:lnTo>
                    <a:cubicBezTo>
                      <a:pt x="300038" y="120968"/>
                      <a:pt x="299085" y="125730"/>
                      <a:pt x="300990" y="129540"/>
                    </a:cubicBezTo>
                    <a:cubicBezTo>
                      <a:pt x="306705" y="140018"/>
                      <a:pt x="311468" y="150495"/>
                      <a:pt x="314325" y="161925"/>
                    </a:cubicBezTo>
                    <a:cubicBezTo>
                      <a:pt x="315278" y="165735"/>
                      <a:pt x="318135" y="168593"/>
                      <a:pt x="322898" y="169545"/>
                    </a:cubicBezTo>
                    <a:lnTo>
                      <a:pt x="367665" y="177165"/>
                    </a:lnTo>
                    <a:lnTo>
                      <a:pt x="367665" y="209550"/>
                    </a:lnTo>
                    <a:lnTo>
                      <a:pt x="367665" y="209550"/>
                    </a:lnTo>
                    <a:lnTo>
                      <a:pt x="322898" y="217170"/>
                    </a:lnTo>
                    <a:cubicBezTo>
                      <a:pt x="319088" y="218123"/>
                      <a:pt x="315278" y="220980"/>
                      <a:pt x="314325" y="224790"/>
                    </a:cubicBezTo>
                    <a:cubicBezTo>
                      <a:pt x="311468" y="236220"/>
                      <a:pt x="306705" y="246698"/>
                      <a:pt x="300990" y="257175"/>
                    </a:cubicBezTo>
                    <a:cubicBezTo>
                      <a:pt x="299085" y="260985"/>
                      <a:pt x="299085" y="264795"/>
                      <a:pt x="301943" y="268605"/>
                    </a:cubicBezTo>
                    <a:lnTo>
                      <a:pt x="328613" y="305753"/>
                    </a:lnTo>
                    <a:lnTo>
                      <a:pt x="305753" y="328613"/>
                    </a:lnTo>
                    <a:lnTo>
                      <a:pt x="305753" y="328613"/>
                    </a:lnTo>
                    <a:lnTo>
                      <a:pt x="269558" y="301942"/>
                    </a:lnTo>
                    <a:cubicBezTo>
                      <a:pt x="266700" y="300038"/>
                      <a:pt x="261938" y="299085"/>
                      <a:pt x="259080" y="300990"/>
                    </a:cubicBezTo>
                    <a:lnTo>
                      <a:pt x="259080" y="300990"/>
                    </a:lnTo>
                    <a:cubicBezTo>
                      <a:pt x="247650" y="306705"/>
                      <a:pt x="236220" y="311467"/>
                      <a:pt x="224790" y="314325"/>
                    </a:cubicBezTo>
                    <a:close/>
                  </a:path>
                </a:pathLst>
              </a:custGeom>
              <a:grpFill/>
              <a:ln w="9525" cap="flat">
                <a:noFill/>
                <a:prstDash val="solid"/>
                <a:miter/>
              </a:ln>
            </p:spPr>
            <p:txBody>
              <a:bodyPr rtlCol="0" anchor="ctr"/>
              <a:lstStyle/>
              <a:p>
                <a:endParaRPr lang="en-US"/>
              </a:p>
            </p:txBody>
          </p:sp>
          <p:sp>
            <p:nvSpPr>
              <p:cNvPr id="38" name="Freeform 58">
                <a:extLst>
                  <a:ext uri="{FF2B5EF4-FFF2-40B4-BE49-F238E27FC236}">
                    <a16:creationId xmlns:a16="http://schemas.microsoft.com/office/drawing/2014/main" id="{94403F7E-BF47-1B0D-1230-FFD29517994E}"/>
                  </a:ext>
                </a:extLst>
              </p:cNvPr>
              <p:cNvSpPr/>
              <p:nvPr/>
            </p:nvSpPr>
            <p:spPr>
              <a:xfrm>
                <a:off x="6285547" y="3331845"/>
                <a:ext cx="135254" cy="136207"/>
              </a:xfrm>
              <a:custGeom>
                <a:avLst/>
                <a:gdLst>
                  <a:gd name="connsiteX0" fmla="*/ 132398 w 135254"/>
                  <a:gd name="connsiteY0" fmla="*/ 2857 h 136207"/>
                  <a:gd name="connsiteX1" fmla="*/ 124777 w 135254"/>
                  <a:gd name="connsiteY1" fmla="*/ 0 h 136207"/>
                  <a:gd name="connsiteX2" fmla="*/ 118110 w 135254"/>
                  <a:gd name="connsiteY2" fmla="*/ 2857 h 136207"/>
                  <a:gd name="connsiteX3" fmla="*/ 66675 w 135254"/>
                  <a:gd name="connsiteY3" fmla="*/ 54292 h 136207"/>
                  <a:gd name="connsiteX4" fmla="*/ 66675 w 135254"/>
                  <a:gd name="connsiteY4" fmla="*/ 54292 h 136207"/>
                  <a:gd name="connsiteX5" fmla="*/ 63817 w 135254"/>
                  <a:gd name="connsiteY5" fmla="*/ 53340 h 136207"/>
                  <a:gd name="connsiteX6" fmla="*/ 43815 w 135254"/>
                  <a:gd name="connsiteY6" fmla="*/ 48577 h 136207"/>
                  <a:gd name="connsiteX7" fmla="*/ 0 w 135254"/>
                  <a:gd name="connsiteY7" fmla="*/ 92392 h 136207"/>
                  <a:gd name="connsiteX8" fmla="*/ 43815 w 135254"/>
                  <a:gd name="connsiteY8" fmla="*/ 136207 h 136207"/>
                  <a:gd name="connsiteX9" fmla="*/ 87630 w 135254"/>
                  <a:gd name="connsiteY9" fmla="*/ 92392 h 136207"/>
                  <a:gd name="connsiteX10" fmla="*/ 82867 w 135254"/>
                  <a:gd name="connsiteY10" fmla="*/ 72390 h 136207"/>
                  <a:gd name="connsiteX11" fmla="*/ 80963 w 135254"/>
                  <a:gd name="connsiteY11" fmla="*/ 69532 h 136207"/>
                  <a:gd name="connsiteX12" fmla="*/ 132398 w 135254"/>
                  <a:gd name="connsiteY12" fmla="*/ 18097 h 136207"/>
                  <a:gd name="connsiteX13" fmla="*/ 135255 w 135254"/>
                  <a:gd name="connsiteY13" fmla="*/ 10477 h 136207"/>
                  <a:gd name="connsiteX14" fmla="*/ 132398 w 135254"/>
                  <a:gd name="connsiteY14" fmla="*/ 2857 h 136207"/>
                  <a:gd name="connsiteX15" fmla="*/ 42863 w 135254"/>
                  <a:gd name="connsiteY15" fmla="*/ 116205 h 136207"/>
                  <a:gd name="connsiteX16" fmla="*/ 19050 w 135254"/>
                  <a:gd name="connsiteY16" fmla="*/ 92392 h 136207"/>
                  <a:gd name="connsiteX17" fmla="*/ 42863 w 135254"/>
                  <a:gd name="connsiteY17" fmla="*/ 68580 h 136207"/>
                  <a:gd name="connsiteX18" fmla="*/ 66675 w 135254"/>
                  <a:gd name="connsiteY18" fmla="*/ 92392 h 136207"/>
                  <a:gd name="connsiteX19" fmla="*/ 42863 w 135254"/>
                  <a:gd name="connsiteY19" fmla="*/ 116205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54" h="136207">
                    <a:moveTo>
                      <a:pt x="132398" y="2857"/>
                    </a:moveTo>
                    <a:cubicBezTo>
                      <a:pt x="130492" y="952"/>
                      <a:pt x="127635" y="0"/>
                      <a:pt x="124777" y="0"/>
                    </a:cubicBezTo>
                    <a:cubicBezTo>
                      <a:pt x="121920" y="0"/>
                      <a:pt x="120015" y="952"/>
                      <a:pt x="118110" y="2857"/>
                    </a:cubicBezTo>
                    <a:lnTo>
                      <a:pt x="66675" y="54292"/>
                    </a:lnTo>
                    <a:lnTo>
                      <a:pt x="66675" y="54292"/>
                    </a:lnTo>
                    <a:lnTo>
                      <a:pt x="63817" y="53340"/>
                    </a:lnTo>
                    <a:cubicBezTo>
                      <a:pt x="57150" y="50482"/>
                      <a:pt x="50482" y="48577"/>
                      <a:pt x="43815" y="48577"/>
                    </a:cubicBezTo>
                    <a:cubicBezTo>
                      <a:pt x="20002" y="48577"/>
                      <a:pt x="0" y="68580"/>
                      <a:pt x="0" y="92392"/>
                    </a:cubicBezTo>
                    <a:cubicBezTo>
                      <a:pt x="0" y="116205"/>
                      <a:pt x="20002" y="136207"/>
                      <a:pt x="43815" y="136207"/>
                    </a:cubicBezTo>
                    <a:cubicBezTo>
                      <a:pt x="67627" y="136207"/>
                      <a:pt x="87630" y="116205"/>
                      <a:pt x="87630" y="92392"/>
                    </a:cubicBezTo>
                    <a:cubicBezTo>
                      <a:pt x="87630" y="84772"/>
                      <a:pt x="85725" y="78105"/>
                      <a:pt x="82867" y="72390"/>
                    </a:cubicBezTo>
                    <a:lnTo>
                      <a:pt x="80963" y="69532"/>
                    </a:lnTo>
                    <a:lnTo>
                      <a:pt x="132398" y="18097"/>
                    </a:lnTo>
                    <a:cubicBezTo>
                      <a:pt x="134302" y="16192"/>
                      <a:pt x="135255" y="13335"/>
                      <a:pt x="135255" y="10477"/>
                    </a:cubicBezTo>
                    <a:cubicBezTo>
                      <a:pt x="135255" y="7620"/>
                      <a:pt x="134302" y="4763"/>
                      <a:pt x="132398" y="2857"/>
                    </a:cubicBezTo>
                    <a:close/>
                    <a:moveTo>
                      <a:pt x="42863" y="116205"/>
                    </a:moveTo>
                    <a:cubicBezTo>
                      <a:pt x="29527" y="116205"/>
                      <a:pt x="19050" y="105727"/>
                      <a:pt x="19050" y="92392"/>
                    </a:cubicBezTo>
                    <a:cubicBezTo>
                      <a:pt x="19050" y="79057"/>
                      <a:pt x="29527" y="68580"/>
                      <a:pt x="42863" y="68580"/>
                    </a:cubicBezTo>
                    <a:cubicBezTo>
                      <a:pt x="56198" y="68580"/>
                      <a:pt x="66675" y="79057"/>
                      <a:pt x="66675" y="92392"/>
                    </a:cubicBezTo>
                    <a:cubicBezTo>
                      <a:pt x="66675" y="105727"/>
                      <a:pt x="56198" y="116205"/>
                      <a:pt x="42863" y="116205"/>
                    </a:cubicBezTo>
                    <a:close/>
                  </a:path>
                </a:pathLst>
              </a:custGeom>
              <a:grpFill/>
              <a:ln w="9525" cap="flat">
                <a:noFill/>
                <a:prstDash val="solid"/>
                <a:miter/>
              </a:ln>
            </p:spPr>
            <p:txBody>
              <a:bodyPr rtlCol="0" anchor="ctr"/>
              <a:lstStyle/>
              <a:p>
                <a:endParaRPr lang="en-US"/>
              </a:p>
            </p:txBody>
          </p:sp>
          <p:sp>
            <p:nvSpPr>
              <p:cNvPr id="39" name="Freeform 59">
                <a:extLst>
                  <a:ext uri="{FF2B5EF4-FFF2-40B4-BE49-F238E27FC236}">
                    <a16:creationId xmlns:a16="http://schemas.microsoft.com/office/drawing/2014/main" id="{3EF99C59-4516-507E-C010-A5BC63812D95}"/>
                  </a:ext>
                </a:extLst>
              </p:cNvPr>
              <p:cNvSpPr/>
              <p:nvPr/>
            </p:nvSpPr>
            <p:spPr>
              <a:xfrm>
                <a:off x="5797867" y="3308985"/>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cubicBezTo>
                      <a:pt x="0" y="0"/>
                      <a:pt x="0" y="0"/>
                      <a:pt x="0" y="0"/>
                    </a:cubicBezTo>
                    <a:cubicBezTo>
                      <a:pt x="0" y="0"/>
                      <a:pt x="0" y="0"/>
                      <a:pt x="0" y="0"/>
                    </a:cubicBezTo>
                    <a:close/>
                  </a:path>
                </a:pathLst>
              </a:custGeom>
              <a:grpFill/>
              <a:ln w="9525" cap="flat">
                <a:noFill/>
                <a:prstDash val="solid"/>
                <a:miter/>
              </a:ln>
            </p:spPr>
            <p:txBody>
              <a:bodyPr rtlCol="0" anchor="ctr"/>
              <a:lstStyle/>
              <a:p>
                <a:endParaRPr lang="en-US"/>
              </a:p>
            </p:txBody>
          </p:sp>
          <p:sp>
            <p:nvSpPr>
              <p:cNvPr id="40" name="Freeform 60">
                <a:extLst>
                  <a:ext uri="{FF2B5EF4-FFF2-40B4-BE49-F238E27FC236}">
                    <a16:creationId xmlns:a16="http://schemas.microsoft.com/office/drawing/2014/main" id="{5C771908-7054-4FBB-4B01-F5A102621061}"/>
                  </a:ext>
                </a:extLst>
              </p:cNvPr>
              <p:cNvSpPr/>
              <p:nvPr/>
            </p:nvSpPr>
            <p:spPr>
              <a:xfrm>
                <a:off x="6100372" y="3162300"/>
                <a:ext cx="492832" cy="290512"/>
              </a:xfrm>
              <a:custGeom>
                <a:avLst/>
                <a:gdLst>
                  <a:gd name="connsiteX0" fmla="*/ 489975 w 492832"/>
                  <a:gd name="connsiteY0" fmla="*/ 261938 h 290512"/>
                  <a:gd name="connsiteX1" fmla="*/ 228038 w 492832"/>
                  <a:gd name="connsiteY1" fmla="*/ 0 h 290512"/>
                  <a:gd name="connsiteX2" fmla="*/ 95640 w 492832"/>
                  <a:gd name="connsiteY2" fmla="*/ 35242 h 290512"/>
                  <a:gd name="connsiteX3" fmla="*/ 1343 w 492832"/>
                  <a:gd name="connsiteY3" fmla="*/ 128588 h 290512"/>
                  <a:gd name="connsiteX4" fmla="*/ 5153 w 492832"/>
                  <a:gd name="connsiteY4" fmla="*/ 142875 h 290512"/>
                  <a:gd name="connsiteX5" fmla="*/ 19440 w 492832"/>
                  <a:gd name="connsiteY5" fmla="*/ 139065 h 290512"/>
                  <a:gd name="connsiteX6" fmla="*/ 47063 w 492832"/>
                  <a:gd name="connsiteY6" fmla="*/ 101917 h 290512"/>
                  <a:gd name="connsiteX7" fmla="*/ 49920 w 492832"/>
                  <a:gd name="connsiteY7" fmla="*/ 98108 h 290512"/>
                  <a:gd name="connsiteX8" fmla="*/ 90878 w 492832"/>
                  <a:gd name="connsiteY8" fmla="*/ 139065 h 290512"/>
                  <a:gd name="connsiteX9" fmla="*/ 105165 w 492832"/>
                  <a:gd name="connsiteY9" fmla="*/ 139065 h 290512"/>
                  <a:gd name="connsiteX10" fmla="*/ 108023 w 492832"/>
                  <a:gd name="connsiteY10" fmla="*/ 131445 h 290512"/>
                  <a:gd name="connsiteX11" fmla="*/ 105165 w 492832"/>
                  <a:gd name="connsiteY11" fmla="*/ 124777 h 290512"/>
                  <a:gd name="connsiteX12" fmla="*/ 64208 w 492832"/>
                  <a:gd name="connsiteY12" fmla="*/ 83820 h 290512"/>
                  <a:gd name="connsiteX13" fmla="*/ 68018 w 492832"/>
                  <a:gd name="connsiteY13" fmla="*/ 80963 h 290512"/>
                  <a:gd name="connsiteX14" fmla="*/ 122310 w 492832"/>
                  <a:gd name="connsiteY14" fmla="*/ 44767 h 290512"/>
                  <a:gd name="connsiteX15" fmla="*/ 127073 w 492832"/>
                  <a:gd name="connsiteY15" fmla="*/ 42863 h 290512"/>
                  <a:gd name="connsiteX16" fmla="*/ 138503 w 492832"/>
                  <a:gd name="connsiteY16" fmla="*/ 69533 h 290512"/>
                  <a:gd name="connsiteX17" fmla="*/ 148028 w 492832"/>
                  <a:gd name="connsiteY17" fmla="*/ 76200 h 290512"/>
                  <a:gd name="connsiteX18" fmla="*/ 151838 w 492832"/>
                  <a:gd name="connsiteY18" fmla="*/ 75248 h 290512"/>
                  <a:gd name="connsiteX19" fmla="*/ 157553 w 492832"/>
                  <a:gd name="connsiteY19" fmla="*/ 69533 h 290512"/>
                  <a:gd name="connsiteX20" fmla="*/ 157553 w 492832"/>
                  <a:gd name="connsiteY20" fmla="*/ 61913 h 290512"/>
                  <a:gd name="connsiteX21" fmla="*/ 146123 w 492832"/>
                  <a:gd name="connsiteY21" fmla="*/ 35242 h 290512"/>
                  <a:gd name="connsiteX22" fmla="*/ 150885 w 492832"/>
                  <a:gd name="connsiteY22" fmla="*/ 33338 h 290512"/>
                  <a:gd name="connsiteX23" fmla="*/ 214703 w 492832"/>
                  <a:gd name="connsiteY23" fmla="*/ 20955 h 290512"/>
                  <a:gd name="connsiteX24" fmla="*/ 219465 w 492832"/>
                  <a:gd name="connsiteY24" fmla="*/ 20955 h 290512"/>
                  <a:gd name="connsiteX25" fmla="*/ 219465 w 492832"/>
                  <a:gd name="connsiteY25" fmla="*/ 78105 h 290512"/>
                  <a:gd name="connsiteX26" fmla="*/ 229943 w 492832"/>
                  <a:gd name="connsiteY26" fmla="*/ 88583 h 290512"/>
                  <a:gd name="connsiteX27" fmla="*/ 240420 w 492832"/>
                  <a:gd name="connsiteY27" fmla="*/ 78105 h 290512"/>
                  <a:gd name="connsiteX28" fmla="*/ 240420 w 492832"/>
                  <a:gd name="connsiteY28" fmla="*/ 20955 h 290512"/>
                  <a:gd name="connsiteX29" fmla="*/ 245183 w 492832"/>
                  <a:gd name="connsiteY29" fmla="*/ 20955 h 290512"/>
                  <a:gd name="connsiteX30" fmla="*/ 309000 w 492832"/>
                  <a:gd name="connsiteY30" fmla="*/ 33338 h 290512"/>
                  <a:gd name="connsiteX31" fmla="*/ 313763 w 492832"/>
                  <a:gd name="connsiteY31" fmla="*/ 35242 h 290512"/>
                  <a:gd name="connsiteX32" fmla="*/ 313763 w 492832"/>
                  <a:gd name="connsiteY32" fmla="*/ 35242 h 290512"/>
                  <a:gd name="connsiteX33" fmla="*/ 303285 w 492832"/>
                  <a:gd name="connsiteY33" fmla="*/ 61913 h 290512"/>
                  <a:gd name="connsiteX34" fmla="*/ 303285 w 492832"/>
                  <a:gd name="connsiteY34" fmla="*/ 69533 h 290512"/>
                  <a:gd name="connsiteX35" fmla="*/ 309000 w 492832"/>
                  <a:gd name="connsiteY35" fmla="*/ 75248 h 290512"/>
                  <a:gd name="connsiteX36" fmla="*/ 312810 w 492832"/>
                  <a:gd name="connsiteY36" fmla="*/ 76200 h 290512"/>
                  <a:gd name="connsiteX37" fmla="*/ 322335 w 492832"/>
                  <a:gd name="connsiteY37" fmla="*/ 69533 h 290512"/>
                  <a:gd name="connsiteX38" fmla="*/ 333765 w 492832"/>
                  <a:gd name="connsiteY38" fmla="*/ 42863 h 290512"/>
                  <a:gd name="connsiteX39" fmla="*/ 333765 w 492832"/>
                  <a:gd name="connsiteY39" fmla="*/ 42863 h 290512"/>
                  <a:gd name="connsiteX40" fmla="*/ 337575 w 492832"/>
                  <a:gd name="connsiteY40" fmla="*/ 44767 h 290512"/>
                  <a:gd name="connsiteX41" fmla="*/ 390915 w 492832"/>
                  <a:gd name="connsiteY41" fmla="*/ 80963 h 290512"/>
                  <a:gd name="connsiteX42" fmla="*/ 394725 w 492832"/>
                  <a:gd name="connsiteY42" fmla="*/ 83820 h 290512"/>
                  <a:gd name="connsiteX43" fmla="*/ 353768 w 492832"/>
                  <a:gd name="connsiteY43" fmla="*/ 124777 h 290512"/>
                  <a:gd name="connsiteX44" fmla="*/ 350910 w 492832"/>
                  <a:gd name="connsiteY44" fmla="*/ 131445 h 290512"/>
                  <a:gd name="connsiteX45" fmla="*/ 353768 w 492832"/>
                  <a:gd name="connsiteY45" fmla="*/ 138113 h 290512"/>
                  <a:gd name="connsiteX46" fmla="*/ 361388 w 492832"/>
                  <a:gd name="connsiteY46" fmla="*/ 140970 h 290512"/>
                  <a:gd name="connsiteX47" fmla="*/ 369008 w 492832"/>
                  <a:gd name="connsiteY47" fmla="*/ 138113 h 290512"/>
                  <a:gd name="connsiteX48" fmla="*/ 409965 w 492832"/>
                  <a:gd name="connsiteY48" fmla="*/ 97155 h 290512"/>
                  <a:gd name="connsiteX49" fmla="*/ 412823 w 492832"/>
                  <a:gd name="connsiteY49" fmla="*/ 100965 h 290512"/>
                  <a:gd name="connsiteX50" fmla="*/ 449018 w 492832"/>
                  <a:gd name="connsiteY50" fmla="*/ 154305 h 290512"/>
                  <a:gd name="connsiteX51" fmla="*/ 450923 w 492832"/>
                  <a:gd name="connsiteY51" fmla="*/ 159067 h 290512"/>
                  <a:gd name="connsiteX52" fmla="*/ 450923 w 492832"/>
                  <a:gd name="connsiteY52" fmla="*/ 159067 h 290512"/>
                  <a:gd name="connsiteX53" fmla="*/ 424253 w 492832"/>
                  <a:gd name="connsiteY53" fmla="*/ 169545 h 290512"/>
                  <a:gd name="connsiteX54" fmla="*/ 418538 w 492832"/>
                  <a:gd name="connsiteY54" fmla="*/ 175260 h 290512"/>
                  <a:gd name="connsiteX55" fmla="*/ 418538 w 492832"/>
                  <a:gd name="connsiteY55" fmla="*/ 182880 h 290512"/>
                  <a:gd name="connsiteX56" fmla="*/ 428063 w 492832"/>
                  <a:gd name="connsiteY56" fmla="*/ 189548 h 290512"/>
                  <a:gd name="connsiteX57" fmla="*/ 431873 w 492832"/>
                  <a:gd name="connsiteY57" fmla="*/ 188595 h 290512"/>
                  <a:gd name="connsiteX58" fmla="*/ 458543 w 492832"/>
                  <a:gd name="connsiteY58" fmla="*/ 177165 h 290512"/>
                  <a:gd name="connsiteX59" fmla="*/ 458543 w 492832"/>
                  <a:gd name="connsiteY59" fmla="*/ 177165 h 290512"/>
                  <a:gd name="connsiteX60" fmla="*/ 459495 w 492832"/>
                  <a:gd name="connsiteY60" fmla="*/ 180975 h 290512"/>
                  <a:gd name="connsiteX61" fmla="*/ 471878 w 492832"/>
                  <a:gd name="connsiteY61" fmla="*/ 244792 h 290512"/>
                  <a:gd name="connsiteX62" fmla="*/ 471878 w 492832"/>
                  <a:gd name="connsiteY62" fmla="*/ 249555 h 290512"/>
                  <a:gd name="connsiteX63" fmla="*/ 414728 w 492832"/>
                  <a:gd name="connsiteY63" fmla="*/ 249555 h 290512"/>
                  <a:gd name="connsiteX64" fmla="*/ 404250 w 492832"/>
                  <a:gd name="connsiteY64" fmla="*/ 260033 h 290512"/>
                  <a:gd name="connsiteX65" fmla="*/ 414728 w 492832"/>
                  <a:gd name="connsiteY65" fmla="*/ 270510 h 290512"/>
                  <a:gd name="connsiteX66" fmla="*/ 471878 w 492832"/>
                  <a:gd name="connsiteY66" fmla="*/ 270510 h 290512"/>
                  <a:gd name="connsiteX67" fmla="*/ 471878 w 492832"/>
                  <a:gd name="connsiteY67" fmla="*/ 277178 h 290512"/>
                  <a:gd name="connsiteX68" fmla="*/ 471878 w 492832"/>
                  <a:gd name="connsiteY68" fmla="*/ 280035 h 290512"/>
                  <a:gd name="connsiteX69" fmla="*/ 481403 w 492832"/>
                  <a:gd name="connsiteY69" fmla="*/ 290513 h 290512"/>
                  <a:gd name="connsiteX70" fmla="*/ 482355 w 492832"/>
                  <a:gd name="connsiteY70" fmla="*/ 290513 h 290512"/>
                  <a:gd name="connsiteX71" fmla="*/ 482355 w 492832"/>
                  <a:gd name="connsiteY71" fmla="*/ 290513 h 290512"/>
                  <a:gd name="connsiteX72" fmla="*/ 492833 w 492832"/>
                  <a:gd name="connsiteY72" fmla="*/ 280988 h 290512"/>
                  <a:gd name="connsiteX73" fmla="*/ 489975 w 492832"/>
                  <a:gd name="connsiteY73" fmla="*/ 261938 h 2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92832" h="290512">
                    <a:moveTo>
                      <a:pt x="489975" y="261938"/>
                    </a:moveTo>
                    <a:cubicBezTo>
                      <a:pt x="489975" y="117158"/>
                      <a:pt x="372818" y="0"/>
                      <a:pt x="228038" y="0"/>
                    </a:cubicBezTo>
                    <a:cubicBezTo>
                      <a:pt x="181365" y="0"/>
                      <a:pt x="135645" y="12382"/>
                      <a:pt x="95640" y="35242"/>
                    </a:cubicBezTo>
                    <a:cubicBezTo>
                      <a:pt x="56588" y="58102"/>
                      <a:pt x="24203" y="90488"/>
                      <a:pt x="1343" y="128588"/>
                    </a:cubicBezTo>
                    <a:cubicBezTo>
                      <a:pt x="-1515" y="133350"/>
                      <a:pt x="390" y="140017"/>
                      <a:pt x="5153" y="142875"/>
                    </a:cubicBezTo>
                    <a:cubicBezTo>
                      <a:pt x="9915" y="145733"/>
                      <a:pt x="16583" y="143827"/>
                      <a:pt x="19440" y="139065"/>
                    </a:cubicBezTo>
                    <a:cubicBezTo>
                      <a:pt x="27060" y="125730"/>
                      <a:pt x="36585" y="113348"/>
                      <a:pt x="47063" y="101917"/>
                    </a:cubicBezTo>
                    <a:lnTo>
                      <a:pt x="49920" y="98108"/>
                    </a:lnTo>
                    <a:lnTo>
                      <a:pt x="90878" y="139065"/>
                    </a:lnTo>
                    <a:cubicBezTo>
                      <a:pt x="94688" y="142875"/>
                      <a:pt x="101355" y="142875"/>
                      <a:pt x="105165" y="139065"/>
                    </a:cubicBezTo>
                    <a:cubicBezTo>
                      <a:pt x="107070" y="137160"/>
                      <a:pt x="108023" y="134302"/>
                      <a:pt x="108023" y="131445"/>
                    </a:cubicBezTo>
                    <a:cubicBezTo>
                      <a:pt x="108023" y="128588"/>
                      <a:pt x="107070" y="126683"/>
                      <a:pt x="105165" y="124777"/>
                    </a:cubicBezTo>
                    <a:lnTo>
                      <a:pt x="64208" y="83820"/>
                    </a:lnTo>
                    <a:lnTo>
                      <a:pt x="68018" y="80963"/>
                    </a:lnTo>
                    <a:cubicBezTo>
                      <a:pt x="84210" y="66675"/>
                      <a:pt x="102308" y="54292"/>
                      <a:pt x="122310" y="44767"/>
                    </a:cubicBezTo>
                    <a:lnTo>
                      <a:pt x="127073" y="42863"/>
                    </a:lnTo>
                    <a:lnTo>
                      <a:pt x="138503" y="69533"/>
                    </a:lnTo>
                    <a:cubicBezTo>
                      <a:pt x="140408" y="73342"/>
                      <a:pt x="143265" y="76200"/>
                      <a:pt x="148028" y="76200"/>
                    </a:cubicBezTo>
                    <a:cubicBezTo>
                      <a:pt x="148980" y="76200"/>
                      <a:pt x="150885" y="76200"/>
                      <a:pt x="151838" y="75248"/>
                    </a:cubicBezTo>
                    <a:cubicBezTo>
                      <a:pt x="154695" y="74295"/>
                      <a:pt x="156600" y="72390"/>
                      <a:pt x="157553" y="69533"/>
                    </a:cubicBezTo>
                    <a:cubicBezTo>
                      <a:pt x="158505" y="66675"/>
                      <a:pt x="158505" y="64770"/>
                      <a:pt x="157553" y="61913"/>
                    </a:cubicBezTo>
                    <a:lnTo>
                      <a:pt x="146123" y="35242"/>
                    </a:lnTo>
                    <a:lnTo>
                      <a:pt x="150885" y="33338"/>
                    </a:lnTo>
                    <a:cubicBezTo>
                      <a:pt x="171840" y="26670"/>
                      <a:pt x="192795" y="21908"/>
                      <a:pt x="214703" y="20955"/>
                    </a:cubicBezTo>
                    <a:lnTo>
                      <a:pt x="219465" y="20955"/>
                    </a:lnTo>
                    <a:lnTo>
                      <a:pt x="219465" y="78105"/>
                    </a:lnTo>
                    <a:cubicBezTo>
                      <a:pt x="219465" y="83820"/>
                      <a:pt x="224228" y="88583"/>
                      <a:pt x="229943" y="88583"/>
                    </a:cubicBezTo>
                    <a:cubicBezTo>
                      <a:pt x="235658" y="88583"/>
                      <a:pt x="240420" y="83820"/>
                      <a:pt x="240420" y="78105"/>
                    </a:cubicBezTo>
                    <a:lnTo>
                      <a:pt x="240420" y="20955"/>
                    </a:lnTo>
                    <a:lnTo>
                      <a:pt x="245183" y="20955"/>
                    </a:lnTo>
                    <a:cubicBezTo>
                      <a:pt x="267090" y="21908"/>
                      <a:pt x="288045" y="26670"/>
                      <a:pt x="309000" y="33338"/>
                    </a:cubicBezTo>
                    <a:lnTo>
                      <a:pt x="313763" y="35242"/>
                    </a:lnTo>
                    <a:lnTo>
                      <a:pt x="313763" y="35242"/>
                    </a:lnTo>
                    <a:lnTo>
                      <a:pt x="303285" y="61913"/>
                    </a:lnTo>
                    <a:cubicBezTo>
                      <a:pt x="302333" y="64770"/>
                      <a:pt x="302333" y="66675"/>
                      <a:pt x="303285" y="69533"/>
                    </a:cubicBezTo>
                    <a:cubicBezTo>
                      <a:pt x="304238" y="72390"/>
                      <a:pt x="306143" y="74295"/>
                      <a:pt x="309000" y="75248"/>
                    </a:cubicBezTo>
                    <a:cubicBezTo>
                      <a:pt x="309953" y="76200"/>
                      <a:pt x="311858" y="76200"/>
                      <a:pt x="312810" y="76200"/>
                    </a:cubicBezTo>
                    <a:cubicBezTo>
                      <a:pt x="316620" y="76200"/>
                      <a:pt x="320430" y="73342"/>
                      <a:pt x="322335" y="69533"/>
                    </a:cubicBezTo>
                    <a:lnTo>
                      <a:pt x="333765" y="42863"/>
                    </a:lnTo>
                    <a:lnTo>
                      <a:pt x="333765" y="42863"/>
                    </a:lnTo>
                    <a:lnTo>
                      <a:pt x="337575" y="44767"/>
                    </a:lnTo>
                    <a:cubicBezTo>
                      <a:pt x="356625" y="54292"/>
                      <a:pt x="374723" y="66675"/>
                      <a:pt x="390915" y="80963"/>
                    </a:cubicBezTo>
                    <a:lnTo>
                      <a:pt x="394725" y="83820"/>
                    </a:lnTo>
                    <a:lnTo>
                      <a:pt x="353768" y="124777"/>
                    </a:lnTo>
                    <a:cubicBezTo>
                      <a:pt x="351863" y="126683"/>
                      <a:pt x="350910" y="129540"/>
                      <a:pt x="350910" y="131445"/>
                    </a:cubicBezTo>
                    <a:cubicBezTo>
                      <a:pt x="350910" y="134302"/>
                      <a:pt x="351863" y="136208"/>
                      <a:pt x="353768" y="138113"/>
                    </a:cubicBezTo>
                    <a:cubicBezTo>
                      <a:pt x="355673" y="140017"/>
                      <a:pt x="358530" y="140970"/>
                      <a:pt x="361388" y="140970"/>
                    </a:cubicBezTo>
                    <a:cubicBezTo>
                      <a:pt x="364245" y="140970"/>
                      <a:pt x="366150" y="140017"/>
                      <a:pt x="369008" y="138113"/>
                    </a:cubicBezTo>
                    <a:lnTo>
                      <a:pt x="409965" y="97155"/>
                    </a:lnTo>
                    <a:lnTo>
                      <a:pt x="412823" y="100965"/>
                    </a:lnTo>
                    <a:cubicBezTo>
                      <a:pt x="427110" y="117158"/>
                      <a:pt x="439493" y="135255"/>
                      <a:pt x="449018" y="154305"/>
                    </a:cubicBezTo>
                    <a:lnTo>
                      <a:pt x="450923" y="159067"/>
                    </a:lnTo>
                    <a:lnTo>
                      <a:pt x="450923" y="159067"/>
                    </a:lnTo>
                    <a:lnTo>
                      <a:pt x="424253" y="169545"/>
                    </a:lnTo>
                    <a:cubicBezTo>
                      <a:pt x="421395" y="170498"/>
                      <a:pt x="419490" y="172402"/>
                      <a:pt x="418538" y="175260"/>
                    </a:cubicBezTo>
                    <a:cubicBezTo>
                      <a:pt x="417585" y="178117"/>
                      <a:pt x="417585" y="180023"/>
                      <a:pt x="418538" y="182880"/>
                    </a:cubicBezTo>
                    <a:cubicBezTo>
                      <a:pt x="420443" y="186690"/>
                      <a:pt x="424253" y="189548"/>
                      <a:pt x="428063" y="189548"/>
                    </a:cubicBezTo>
                    <a:cubicBezTo>
                      <a:pt x="429015" y="189548"/>
                      <a:pt x="430920" y="189548"/>
                      <a:pt x="431873" y="188595"/>
                    </a:cubicBezTo>
                    <a:lnTo>
                      <a:pt x="458543" y="177165"/>
                    </a:lnTo>
                    <a:lnTo>
                      <a:pt x="458543" y="177165"/>
                    </a:lnTo>
                    <a:lnTo>
                      <a:pt x="459495" y="180975"/>
                    </a:lnTo>
                    <a:cubicBezTo>
                      <a:pt x="466163" y="201930"/>
                      <a:pt x="470925" y="222885"/>
                      <a:pt x="471878" y="244792"/>
                    </a:cubicBezTo>
                    <a:lnTo>
                      <a:pt x="471878" y="249555"/>
                    </a:lnTo>
                    <a:lnTo>
                      <a:pt x="414728" y="249555"/>
                    </a:lnTo>
                    <a:cubicBezTo>
                      <a:pt x="409013" y="249555"/>
                      <a:pt x="404250" y="254317"/>
                      <a:pt x="404250" y="260033"/>
                    </a:cubicBezTo>
                    <a:cubicBezTo>
                      <a:pt x="404250" y="265748"/>
                      <a:pt x="409013" y="270510"/>
                      <a:pt x="414728" y="270510"/>
                    </a:cubicBezTo>
                    <a:lnTo>
                      <a:pt x="471878" y="270510"/>
                    </a:lnTo>
                    <a:lnTo>
                      <a:pt x="471878" y="277178"/>
                    </a:lnTo>
                    <a:cubicBezTo>
                      <a:pt x="471878" y="278130"/>
                      <a:pt x="471878" y="279083"/>
                      <a:pt x="471878" y="280035"/>
                    </a:cubicBezTo>
                    <a:cubicBezTo>
                      <a:pt x="471878" y="285750"/>
                      <a:pt x="475688" y="290513"/>
                      <a:pt x="481403" y="290513"/>
                    </a:cubicBezTo>
                    <a:cubicBezTo>
                      <a:pt x="481403" y="290513"/>
                      <a:pt x="481403" y="290513"/>
                      <a:pt x="482355" y="290513"/>
                    </a:cubicBezTo>
                    <a:lnTo>
                      <a:pt x="482355" y="290513"/>
                    </a:lnTo>
                    <a:cubicBezTo>
                      <a:pt x="487118" y="290513"/>
                      <a:pt x="491880" y="286703"/>
                      <a:pt x="492833" y="280988"/>
                    </a:cubicBezTo>
                    <a:cubicBezTo>
                      <a:pt x="489975" y="276225"/>
                      <a:pt x="489975" y="268605"/>
                      <a:pt x="489975" y="261938"/>
                    </a:cubicBezTo>
                    <a:close/>
                  </a:path>
                </a:pathLst>
              </a:custGeom>
              <a:grpFill/>
              <a:ln w="9525" cap="flat">
                <a:noFill/>
                <a:prstDash val="solid"/>
                <a:miter/>
              </a:ln>
            </p:spPr>
            <p:txBody>
              <a:bodyPr rtlCol="0" anchor="ctr"/>
              <a:lstStyle/>
              <a:p>
                <a:endParaRPr lang="en-US"/>
              </a:p>
            </p:txBody>
          </p:sp>
          <p:sp>
            <p:nvSpPr>
              <p:cNvPr id="41" name="Freeform 61">
                <a:extLst>
                  <a:ext uri="{FF2B5EF4-FFF2-40B4-BE49-F238E27FC236}">
                    <a16:creationId xmlns:a16="http://schemas.microsoft.com/office/drawing/2014/main" id="{25D284A1-34C7-196B-E614-A062F7AE1791}"/>
                  </a:ext>
                </a:extLst>
              </p:cNvPr>
              <p:cNvSpPr/>
              <p:nvPr/>
            </p:nvSpPr>
            <p:spPr>
              <a:xfrm>
                <a:off x="5889307" y="3588067"/>
                <a:ext cx="396239" cy="227647"/>
              </a:xfrm>
              <a:custGeom>
                <a:avLst/>
                <a:gdLst>
                  <a:gd name="connsiteX0" fmla="*/ 396240 w 396239"/>
                  <a:gd name="connsiteY0" fmla="*/ 104775 h 227647"/>
                  <a:gd name="connsiteX1" fmla="*/ 291465 w 396239"/>
                  <a:gd name="connsiteY1" fmla="*/ 0 h 227647"/>
                  <a:gd name="connsiteX2" fmla="*/ 104775 w 396239"/>
                  <a:gd name="connsiteY2" fmla="*/ 0 h 227647"/>
                  <a:gd name="connsiteX3" fmla="*/ 0 w 396239"/>
                  <a:gd name="connsiteY3" fmla="*/ 104775 h 227647"/>
                  <a:gd name="connsiteX4" fmla="*/ 0 w 396239"/>
                  <a:gd name="connsiteY4" fmla="*/ 216217 h 227647"/>
                  <a:gd name="connsiteX5" fmla="*/ 11430 w 396239"/>
                  <a:gd name="connsiteY5" fmla="*/ 227648 h 227647"/>
                  <a:gd name="connsiteX6" fmla="*/ 384810 w 396239"/>
                  <a:gd name="connsiteY6" fmla="*/ 227648 h 227647"/>
                  <a:gd name="connsiteX7" fmla="*/ 396240 w 396239"/>
                  <a:gd name="connsiteY7" fmla="*/ 216217 h 227647"/>
                  <a:gd name="connsiteX8" fmla="*/ 396240 w 396239"/>
                  <a:gd name="connsiteY8" fmla="*/ 104775 h 227647"/>
                  <a:gd name="connsiteX9" fmla="*/ 373380 w 396239"/>
                  <a:gd name="connsiteY9" fmla="*/ 204788 h 227647"/>
                  <a:gd name="connsiteX10" fmla="*/ 22860 w 396239"/>
                  <a:gd name="connsiteY10" fmla="*/ 204788 h 227647"/>
                  <a:gd name="connsiteX11" fmla="*/ 22860 w 396239"/>
                  <a:gd name="connsiteY11" fmla="*/ 104775 h 227647"/>
                  <a:gd name="connsiteX12" fmla="*/ 95250 w 396239"/>
                  <a:gd name="connsiteY12" fmla="*/ 23813 h 227647"/>
                  <a:gd name="connsiteX13" fmla="*/ 100965 w 396239"/>
                  <a:gd name="connsiteY13" fmla="*/ 22860 h 227647"/>
                  <a:gd name="connsiteX14" fmla="*/ 294322 w 396239"/>
                  <a:gd name="connsiteY14" fmla="*/ 22860 h 227647"/>
                  <a:gd name="connsiteX15" fmla="*/ 300038 w 396239"/>
                  <a:gd name="connsiteY15" fmla="*/ 23813 h 227647"/>
                  <a:gd name="connsiteX16" fmla="*/ 372428 w 396239"/>
                  <a:gd name="connsiteY16" fmla="*/ 104775 h 227647"/>
                  <a:gd name="connsiteX17" fmla="*/ 372428 w 396239"/>
                  <a:gd name="connsiteY17" fmla="*/ 204788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6239" h="227647">
                    <a:moveTo>
                      <a:pt x="396240" y="104775"/>
                    </a:moveTo>
                    <a:cubicBezTo>
                      <a:pt x="396240" y="46673"/>
                      <a:pt x="349567" y="0"/>
                      <a:pt x="291465" y="0"/>
                    </a:cubicBezTo>
                    <a:lnTo>
                      <a:pt x="104775" y="0"/>
                    </a:lnTo>
                    <a:cubicBezTo>
                      <a:pt x="46672" y="0"/>
                      <a:pt x="0" y="46673"/>
                      <a:pt x="0" y="104775"/>
                    </a:cubicBezTo>
                    <a:lnTo>
                      <a:pt x="0" y="216217"/>
                    </a:lnTo>
                    <a:cubicBezTo>
                      <a:pt x="0" y="222885"/>
                      <a:pt x="4763" y="227648"/>
                      <a:pt x="11430" y="227648"/>
                    </a:cubicBezTo>
                    <a:lnTo>
                      <a:pt x="384810" y="227648"/>
                    </a:lnTo>
                    <a:cubicBezTo>
                      <a:pt x="391478" y="227648"/>
                      <a:pt x="396240" y="222885"/>
                      <a:pt x="396240" y="216217"/>
                    </a:cubicBezTo>
                    <a:lnTo>
                      <a:pt x="396240" y="104775"/>
                    </a:lnTo>
                    <a:close/>
                    <a:moveTo>
                      <a:pt x="373380" y="204788"/>
                    </a:moveTo>
                    <a:lnTo>
                      <a:pt x="22860" y="204788"/>
                    </a:lnTo>
                    <a:lnTo>
                      <a:pt x="22860" y="104775"/>
                    </a:lnTo>
                    <a:cubicBezTo>
                      <a:pt x="22860" y="62865"/>
                      <a:pt x="54292" y="28575"/>
                      <a:pt x="95250" y="23813"/>
                    </a:cubicBezTo>
                    <a:lnTo>
                      <a:pt x="100965" y="22860"/>
                    </a:lnTo>
                    <a:lnTo>
                      <a:pt x="294322" y="22860"/>
                    </a:lnTo>
                    <a:lnTo>
                      <a:pt x="300038" y="23813"/>
                    </a:lnTo>
                    <a:cubicBezTo>
                      <a:pt x="340995" y="28575"/>
                      <a:pt x="372428" y="62865"/>
                      <a:pt x="372428" y="104775"/>
                    </a:cubicBezTo>
                    <a:lnTo>
                      <a:pt x="372428" y="204788"/>
                    </a:lnTo>
                    <a:close/>
                  </a:path>
                </a:pathLst>
              </a:custGeom>
              <a:grpFill/>
              <a:ln w="9525" cap="flat">
                <a:noFill/>
                <a:prstDash val="solid"/>
                <a:miter/>
              </a:ln>
            </p:spPr>
            <p:txBody>
              <a:bodyPr rtlCol="0" anchor="ctr"/>
              <a:lstStyle/>
              <a:p>
                <a:endParaRPr lang="en-US"/>
              </a:p>
            </p:txBody>
          </p:sp>
          <p:sp>
            <p:nvSpPr>
              <p:cNvPr id="42" name="Freeform 62">
                <a:extLst>
                  <a:ext uri="{FF2B5EF4-FFF2-40B4-BE49-F238E27FC236}">
                    <a16:creationId xmlns:a16="http://schemas.microsoft.com/office/drawing/2014/main" id="{61940048-ADF9-970E-5D79-B0150577024B}"/>
                  </a:ext>
                </a:extLst>
              </p:cNvPr>
              <p:cNvSpPr/>
              <p:nvPr/>
            </p:nvSpPr>
            <p:spPr>
              <a:xfrm>
                <a:off x="5982652" y="3363277"/>
                <a:ext cx="209550" cy="209550"/>
              </a:xfrm>
              <a:custGeom>
                <a:avLst/>
                <a:gdLst>
                  <a:gd name="connsiteX0" fmla="*/ 104775 w 209550"/>
                  <a:gd name="connsiteY0" fmla="*/ 0 h 209550"/>
                  <a:gd name="connsiteX1" fmla="*/ 0 w 209550"/>
                  <a:gd name="connsiteY1" fmla="*/ 104775 h 209550"/>
                  <a:gd name="connsiteX2" fmla="*/ 104775 w 209550"/>
                  <a:gd name="connsiteY2" fmla="*/ 209550 h 209550"/>
                  <a:gd name="connsiteX3" fmla="*/ 209550 w 209550"/>
                  <a:gd name="connsiteY3" fmla="*/ 104775 h 209550"/>
                  <a:gd name="connsiteX4" fmla="*/ 104775 w 209550"/>
                  <a:gd name="connsiteY4" fmla="*/ 0 h 209550"/>
                  <a:gd name="connsiteX5" fmla="*/ 104775 w 209550"/>
                  <a:gd name="connsiteY5" fmla="*/ 186690 h 209550"/>
                  <a:gd name="connsiteX6" fmla="*/ 23813 w 209550"/>
                  <a:gd name="connsiteY6" fmla="*/ 105727 h 209550"/>
                  <a:gd name="connsiteX7" fmla="*/ 104775 w 209550"/>
                  <a:gd name="connsiteY7" fmla="*/ 24765 h 209550"/>
                  <a:gd name="connsiteX8" fmla="*/ 185738 w 209550"/>
                  <a:gd name="connsiteY8" fmla="*/ 105727 h 209550"/>
                  <a:gd name="connsiteX9" fmla="*/ 104775 w 209550"/>
                  <a:gd name="connsiteY9" fmla="*/ 18669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 h="209550">
                    <a:moveTo>
                      <a:pt x="104775" y="0"/>
                    </a:moveTo>
                    <a:cubicBezTo>
                      <a:pt x="46673" y="0"/>
                      <a:pt x="0" y="47625"/>
                      <a:pt x="0" y="104775"/>
                    </a:cubicBezTo>
                    <a:cubicBezTo>
                      <a:pt x="0" y="162877"/>
                      <a:pt x="47625" y="209550"/>
                      <a:pt x="104775" y="209550"/>
                    </a:cubicBezTo>
                    <a:cubicBezTo>
                      <a:pt x="161925" y="209550"/>
                      <a:pt x="209550" y="161925"/>
                      <a:pt x="209550" y="104775"/>
                    </a:cubicBezTo>
                    <a:cubicBezTo>
                      <a:pt x="209550" y="47625"/>
                      <a:pt x="162877" y="0"/>
                      <a:pt x="104775" y="0"/>
                    </a:cubicBezTo>
                    <a:close/>
                    <a:moveTo>
                      <a:pt x="104775" y="186690"/>
                    </a:moveTo>
                    <a:cubicBezTo>
                      <a:pt x="60008" y="186690"/>
                      <a:pt x="23813" y="150495"/>
                      <a:pt x="23813" y="105727"/>
                    </a:cubicBezTo>
                    <a:cubicBezTo>
                      <a:pt x="23813" y="60960"/>
                      <a:pt x="60008" y="24765"/>
                      <a:pt x="104775" y="24765"/>
                    </a:cubicBezTo>
                    <a:cubicBezTo>
                      <a:pt x="149543" y="24765"/>
                      <a:pt x="185738" y="60960"/>
                      <a:pt x="185738" y="105727"/>
                    </a:cubicBezTo>
                    <a:cubicBezTo>
                      <a:pt x="185738" y="150495"/>
                      <a:pt x="149543" y="186690"/>
                      <a:pt x="104775" y="186690"/>
                    </a:cubicBezTo>
                    <a:close/>
                  </a:path>
                </a:pathLst>
              </a:custGeom>
              <a:grpFill/>
              <a:ln w="9525" cap="flat">
                <a:noFill/>
                <a:prstDash val="solid"/>
                <a:miter/>
              </a:ln>
            </p:spPr>
            <p:txBody>
              <a:bodyPr rtlCol="0" anchor="ctr"/>
              <a:lstStyle/>
              <a:p>
                <a:endParaRPr lang="en-US"/>
              </a:p>
            </p:txBody>
          </p:sp>
        </p:grpSp>
      </p:grpSp>
      <p:grpSp>
        <p:nvGrpSpPr>
          <p:cNvPr id="43" name="Group 42">
            <a:extLst>
              <a:ext uri="{FF2B5EF4-FFF2-40B4-BE49-F238E27FC236}">
                <a16:creationId xmlns:a16="http://schemas.microsoft.com/office/drawing/2014/main" id="{AECBE4DA-EAE8-4A8A-F95A-7F9DB75BF21E}"/>
              </a:ext>
            </a:extLst>
          </p:cNvPr>
          <p:cNvGrpSpPr/>
          <p:nvPr/>
        </p:nvGrpSpPr>
        <p:grpSpPr>
          <a:xfrm>
            <a:off x="1937017" y="1820432"/>
            <a:ext cx="914400" cy="914400"/>
            <a:chOff x="5640126" y="2484709"/>
            <a:chExt cx="914400" cy="914400"/>
          </a:xfrm>
        </p:grpSpPr>
        <p:sp>
          <p:nvSpPr>
            <p:cNvPr id="44" name="Oval 43">
              <a:extLst>
                <a:ext uri="{FF2B5EF4-FFF2-40B4-BE49-F238E27FC236}">
                  <a16:creationId xmlns:a16="http://schemas.microsoft.com/office/drawing/2014/main" id="{D62F42E3-319F-2E24-F431-3E80CC506838}"/>
                </a:ext>
              </a:extLst>
            </p:cNvPr>
            <p:cNvSpPr/>
            <p:nvPr/>
          </p:nvSpPr>
          <p:spPr>
            <a:xfrm>
              <a:off x="5640126" y="2484709"/>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15">
              <a:extLst>
                <a:ext uri="{FF2B5EF4-FFF2-40B4-BE49-F238E27FC236}">
                  <a16:creationId xmlns:a16="http://schemas.microsoft.com/office/drawing/2014/main" id="{84A2BD81-473B-5260-D582-5BCB47EB952F}"/>
                </a:ext>
              </a:extLst>
            </p:cNvPr>
            <p:cNvSpPr/>
            <p:nvPr/>
          </p:nvSpPr>
          <p:spPr>
            <a:xfrm>
              <a:off x="5850730" y="2691719"/>
              <a:ext cx="508000" cy="508000"/>
            </a:xfrm>
            <a:custGeom>
              <a:avLst/>
              <a:gdLst>
                <a:gd name="connsiteX0" fmla="*/ 750570 w 762000"/>
                <a:gd name="connsiteY0" fmla="*/ 570548 h 762000"/>
                <a:gd name="connsiteX1" fmla="*/ 586740 w 762000"/>
                <a:gd name="connsiteY1" fmla="*/ 570548 h 762000"/>
                <a:gd name="connsiteX2" fmla="*/ 475298 w 762000"/>
                <a:gd name="connsiteY2" fmla="*/ 459105 h 762000"/>
                <a:gd name="connsiteX3" fmla="*/ 487680 w 762000"/>
                <a:gd name="connsiteY3" fmla="*/ 451485 h 762000"/>
                <a:gd name="connsiteX4" fmla="*/ 495300 w 762000"/>
                <a:gd name="connsiteY4" fmla="*/ 438150 h 762000"/>
                <a:gd name="connsiteX5" fmla="*/ 495300 w 762000"/>
                <a:gd name="connsiteY5" fmla="*/ 392430 h 762000"/>
                <a:gd name="connsiteX6" fmla="*/ 591503 w 762000"/>
                <a:gd name="connsiteY6" fmla="*/ 392430 h 762000"/>
                <a:gd name="connsiteX7" fmla="*/ 591503 w 762000"/>
                <a:gd name="connsiteY7" fmla="*/ 433388 h 762000"/>
                <a:gd name="connsiteX8" fmla="*/ 602933 w 762000"/>
                <a:gd name="connsiteY8" fmla="*/ 444817 h 762000"/>
                <a:gd name="connsiteX9" fmla="*/ 707708 w 762000"/>
                <a:gd name="connsiteY9" fmla="*/ 444817 h 762000"/>
                <a:gd name="connsiteX10" fmla="*/ 719138 w 762000"/>
                <a:gd name="connsiteY10" fmla="*/ 433388 h 762000"/>
                <a:gd name="connsiteX11" fmla="*/ 719138 w 762000"/>
                <a:gd name="connsiteY11" fmla="*/ 328613 h 762000"/>
                <a:gd name="connsiteX12" fmla="*/ 707708 w 762000"/>
                <a:gd name="connsiteY12" fmla="*/ 317183 h 762000"/>
                <a:gd name="connsiteX13" fmla="*/ 602933 w 762000"/>
                <a:gd name="connsiteY13" fmla="*/ 317183 h 762000"/>
                <a:gd name="connsiteX14" fmla="*/ 591503 w 762000"/>
                <a:gd name="connsiteY14" fmla="*/ 328613 h 762000"/>
                <a:gd name="connsiteX15" fmla="*/ 591503 w 762000"/>
                <a:gd name="connsiteY15" fmla="*/ 369570 h 762000"/>
                <a:gd name="connsiteX16" fmla="*/ 495300 w 762000"/>
                <a:gd name="connsiteY16" fmla="*/ 369570 h 762000"/>
                <a:gd name="connsiteX17" fmla="*/ 495300 w 762000"/>
                <a:gd name="connsiteY17" fmla="*/ 323850 h 762000"/>
                <a:gd name="connsiteX18" fmla="*/ 487680 w 762000"/>
                <a:gd name="connsiteY18" fmla="*/ 310515 h 762000"/>
                <a:gd name="connsiteX19" fmla="*/ 475298 w 762000"/>
                <a:gd name="connsiteY19" fmla="*/ 302895 h 762000"/>
                <a:gd name="connsiteX20" fmla="*/ 586740 w 762000"/>
                <a:gd name="connsiteY20" fmla="*/ 191452 h 762000"/>
                <a:gd name="connsiteX21" fmla="*/ 750570 w 762000"/>
                <a:gd name="connsiteY21" fmla="*/ 191452 h 762000"/>
                <a:gd name="connsiteX22" fmla="*/ 762000 w 762000"/>
                <a:gd name="connsiteY22" fmla="*/ 180023 h 762000"/>
                <a:gd name="connsiteX23" fmla="*/ 762000 w 762000"/>
                <a:gd name="connsiteY23" fmla="*/ 11430 h 762000"/>
                <a:gd name="connsiteX24" fmla="*/ 750570 w 762000"/>
                <a:gd name="connsiteY24" fmla="*/ 0 h 762000"/>
                <a:gd name="connsiteX25" fmla="*/ 581978 w 762000"/>
                <a:gd name="connsiteY25" fmla="*/ 0 h 762000"/>
                <a:gd name="connsiteX26" fmla="*/ 570548 w 762000"/>
                <a:gd name="connsiteY26" fmla="*/ 11430 h 762000"/>
                <a:gd name="connsiteX27" fmla="*/ 570548 w 762000"/>
                <a:gd name="connsiteY27" fmla="*/ 175260 h 762000"/>
                <a:gd name="connsiteX28" fmla="*/ 455295 w 762000"/>
                <a:gd name="connsiteY28" fmla="*/ 290513 h 762000"/>
                <a:gd name="connsiteX29" fmla="*/ 392430 w 762000"/>
                <a:gd name="connsiteY29" fmla="*/ 254317 h 762000"/>
                <a:gd name="connsiteX30" fmla="*/ 392430 w 762000"/>
                <a:gd name="connsiteY30" fmla="*/ 171450 h 762000"/>
                <a:gd name="connsiteX31" fmla="*/ 433388 w 762000"/>
                <a:gd name="connsiteY31" fmla="*/ 171450 h 762000"/>
                <a:gd name="connsiteX32" fmla="*/ 444817 w 762000"/>
                <a:gd name="connsiteY32" fmla="*/ 160020 h 762000"/>
                <a:gd name="connsiteX33" fmla="*/ 444817 w 762000"/>
                <a:gd name="connsiteY33" fmla="*/ 55245 h 762000"/>
                <a:gd name="connsiteX34" fmla="*/ 433388 w 762000"/>
                <a:gd name="connsiteY34" fmla="*/ 43815 h 762000"/>
                <a:gd name="connsiteX35" fmla="*/ 328613 w 762000"/>
                <a:gd name="connsiteY35" fmla="*/ 43815 h 762000"/>
                <a:gd name="connsiteX36" fmla="*/ 317183 w 762000"/>
                <a:gd name="connsiteY36" fmla="*/ 55245 h 762000"/>
                <a:gd name="connsiteX37" fmla="*/ 317183 w 762000"/>
                <a:gd name="connsiteY37" fmla="*/ 160020 h 762000"/>
                <a:gd name="connsiteX38" fmla="*/ 328613 w 762000"/>
                <a:gd name="connsiteY38" fmla="*/ 171450 h 762000"/>
                <a:gd name="connsiteX39" fmla="*/ 369570 w 762000"/>
                <a:gd name="connsiteY39" fmla="*/ 171450 h 762000"/>
                <a:gd name="connsiteX40" fmla="*/ 369570 w 762000"/>
                <a:gd name="connsiteY40" fmla="*/ 254317 h 762000"/>
                <a:gd name="connsiteX41" fmla="*/ 306705 w 762000"/>
                <a:gd name="connsiteY41" fmla="*/ 290513 h 762000"/>
                <a:gd name="connsiteX42" fmla="*/ 191452 w 762000"/>
                <a:gd name="connsiteY42" fmla="*/ 175260 h 762000"/>
                <a:gd name="connsiteX43" fmla="*/ 191452 w 762000"/>
                <a:gd name="connsiteY43" fmla="*/ 11430 h 762000"/>
                <a:gd name="connsiteX44" fmla="*/ 180023 w 762000"/>
                <a:gd name="connsiteY44" fmla="*/ 0 h 762000"/>
                <a:gd name="connsiteX45" fmla="*/ 11430 w 762000"/>
                <a:gd name="connsiteY45" fmla="*/ 0 h 762000"/>
                <a:gd name="connsiteX46" fmla="*/ 0 w 762000"/>
                <a:gd name="connsiteY46" fmla="*/ 11430 h 762000"/>
                <a:gd name="connsiteX47" fmla="*/ 0 w 762000"/>
                <a:gd name="connsiteY47" fmla="*/ 180023 h 762000"/>
                <a:gd name="connsiteX48" fmla="*/ 11430 w 762000"/>
                <a:gd name="connsiteY48" fmla="*/ 191452 h 762000"/>
                <a:gd name="connsiteX49" fmla="*/ 175260 w 762000"/>
                <a:gd name="connsiteY49" fmla="*/ 191452 h 762000"/>
                <a:gd name="connsiteX50" fmla="*/ 286703 w 762000"/>
                <a:gd name="connsiteY50" fmla="*/ 302895 h 762000"/>
                <a:gd name="connsiteX51" fmla="*/ 274320 w 762000"/>
                <a:gd name="connsiteY51" fmla="*/ 310515 h 762000"/>
                <a:gd name="connsiteX52" fmla="*/ 266700 w 762000"/>
                <a:gd name="connsiteY52" fmla="*/ 323850 h 762000"/>
                <a:gd name="connsiteX53" fmla="*/ 266700 w 762000"/>
                <a:gd name="connsiteY53" fmla="*/ 369570 h 762000"/>
                <a:gd name="connsiteX54" fmla="*/ 169545 w 762000"/>
                <a:gd name="connsiteY54" fmla="*/ 369570 h 762000"/>
                <a:gd name="connsiteX55" fmla="*/ 169545 w 762000"/>
                <a:gd name="connsiteY55" fmla="*/ 328613 h 762000"/>
                <a:gd name="connsiteX56" fmla="*/ 158115 w 762000"/>
                <a:gd name="connsiteY56" fmla="*/ 317183 h 762000"/>
                <a:gd name="connsiteX57" fmla="*/ 52388 w 762000"/>
                <a:gd name="connsiteY57" fmla="*/ 317183 h 762000"/>
                <a:gd name="connsiteX58" fmla="*/ 40957 w 762000"/>
                <a:gd name="connsiteY58" fmla="*/ 328613 h 762000"/>
                <a:gd name="connsiteX59" fmla="*/ 40957 w 762000"/>
                <a:gd name="connsiteY59" fmla="*/ 433388 h 762000"/>
                <a:gd name="connsiteX60" fmla="*/ 52388 w 762000"/>
                <a:gd name="connsiteY60" fmla="*/ 444817 h 762000"/>
                <a:gd name="connsiteX61" fmla="*/ 157163 w 762000"/>
                <a:gd name="connsiteY61" fmla="*/ 444817 h 762000"/>
                <a:gd name="connsiteX62" fmla="*/ 168592 w 762000"/>
                <a:gd name="connsiteY62" fmla="*/ 433388 h 762000"/>
                <a:gd name="connsiteX63" fmla="*/ 168592 w 762000"/>
                <a:gd name="connsiteY63" fmla="*/ 392430 h 762000"/>
                <a:gd name="connsiteX64" fmla="*/ 264795 w 762000"/>
                <a:gd name="connsiteY64" fmla="*/ 392430 h 762000"/>
                <a:gd name="connsiteX65" fmla="*/ 264795 w 762000"/>
                <a:gd name="connsiteY65" fmla="*/ 438150 h 762000"/>
                <a:gd name="connsiteX66" fmla="*/ 272415 w 762000"/>
                <a:gd name="connsiteY66" fmla="*/ 451485 h 762000"/>
                <a:gd name="connsiteX67" fmla="*/ 284798 w 762000"/>
                <a:gd name="connsiteY67" fmla="*/ 459105 h 762000"/>
                <a:gd name="connsiteX68" fmla="*/ 173355 w 762000"/>
                <a:gd name="connsiteY68" fmla="*/ 570548 h 762000"/>
                <a:gd name="connsiteX69" fmla="*/ 11430 w 762000"/>
                <a:gd name="connsiteY69" fmla="*/ 570548 h 762000"/>
                <a:gd name="connsiteX70" fmla="*/ 0 w 762000"/>
                <a:gd name="connsiteY70" fmla="*/ 581978 h 762000"/>
                <a:gd name="connsiteX71" fmla="*/ 0 w 762000"/>
                <a:gd name="connsiteY71" fmla="*/ 750570 h 762000"/>
                <a:gd name="connsiteX72" fmla="*/ 11430 w 762000"/>
                <a:gd name="connsiteY72" fmla="*/ 762000 h 762000"/>
                <a:gd name="connsiteX73" fmla="*/ 180023 w 762000"/>
                <a:gd name="connsiteY73" fmla="*/ 762000 h 762000"/>
                <a:gd name="connsiteX74" fmla="*/ 191452 w 762000"/>
                <a:gd name="connsiteY74" fmla="*/ 750570 h 762000"/>
                <a:gd name="connsiteX75" fmla="*/ 191452 w 762000"/>
                <a:gd name="connsiteY75" fmla="*/ 586740 h 762000"/>
                <a:gd name="connsiteX76" fmla="*/ 306705 w 762000"/>
                <a:gd name="connsiteY76" fmla="*/ 471488 h 762000"/>
                <a:gd name="connsiteX77" fmla="*/ 369570 w 762000"/>
                <a:gd name="connsiteY77" fmla="*/ 507683 h 762000"/>
                <a:gd name="connsiteX78" fmla="*/ 369570 w 762000"/>
                <a:gd name="connsiteY78" fmla="*/ 596265 h 762000"/>
                <a:gd name="connsiteX79" fmla="*/ 328613 w 762000"/>
                <a:gd name="connsiteY79" fmla="*/ 596265 h 762000"/>
                <a:gd name="connsiteX80" fmla="*/ 317183 w 762000"/>
                <a:gd name="connsiteY80" fmla="*/ 607695 h 762000"/>
                <a:gd name="connsiteX81" fmla="*/ 317183 w 762000"/>
                <a:gd name="connsiteY81" fmla="*/ 712470 h 762000"/>
                <a:gd name="connsiteX82" fmla="*/ 328613 w 762000"/>
                <a:gd name="connsiteY82" fmla="*/ 723900 h 762000"/>
                <a:gd name="connsiteX83" fmla="*/ 433388 w 762000"/>
                <a:gd name="connsiteY83" fmla="*/ 723900 h 762000"/>
                <a:gd name="connsiteX84" fmla="*/ 444817 w 762000"/>
                <a:gd name="connsiteY84" fmla="*/ 712470 h 762000"/>
                <a:gd name="connsiteX85" fmla="*/ 444817 w 762000"/>
                <a:gd name="connsiteY85" fmla="*/ 607695 h 762000"/>
                <a:gd name="connsiteX86" fmla="*/ 433388 w 762000"/>
                <a:gd name="connsiteY86" fmla="*/ 596265 h 762000"/>
                <a:gd name="connsiteX87" fmla="*/ 392430 w 762000"/>
                <a:gd name="connsiteY87" fmla="*/ 596265 h 762000"/>
                <a:gd name="connsiteX88" fmla="*/ 392430 w 762000"/>
                <a:gd name="connsiteY88" fmla="*/ 507683 h 762000"/>
                <a:gd name="connsiteX89" fmla="*/ 455295 w 762000"/>
                <a:gd name="connsiteY89" fmla="*/ 471488 h 762000"/>
                <a:gd name="connsiteX90" fmla="*/ 570548 w 762000"/>
                <a:gd name="connsiteY90" fmla="*/ 586740 h 762000"/>
                <a:gd name="connsiteX91" fmla="*/ 570548 w 762000"/>
                <a:gd name="connsiteY91" fmla="*/ 750570 h 762000"/>
                <a:gd name="connsiteX92" fmla="*/ 581978 w 762000"/>
                <a:gd name="connsiteY92" fmla="*/ 762000 h 762000"/>
                <a:gd name="connsiteX93" fmla="*/ 750570 w 762000"/>
                <a:gd name="connsiteY93" fmla="*/ 762000 h 762000"/>
                <a:gd name="connsiteX94" fmla="*/ 762000 w 762000"/>
                <a:gd name="connsiteY94" fmla="*/ 750570 h 762000"/>
                <a:gd name="connsiteX95" fmla="*/ 762000 w 762000"/>
                <a:gd name="connsiteY95" fmla="*/ 581978 h 762000"/>
                <a:gd name="connsiteX96" fmla="*/ 750570 w 762000"/>
                <a:gd name="connsiteY96" fmla="*/ 570548 h 762000"/>
                <a:gd name="connsiteX97" fmla="*/ 739140 w 762000"/>
                <a:gd name="connsiteY97" fmla="*/ 593408 h 762000"/>
                <a:gd name="connsiteX98" fmla="*/ 739140 w 762000"/>
                <a:gd name="connsiteY98" fmla="*/ 738188 h 762000"/>
                <a:gd name="connsiteX99" fmla="*/ 594360 w 762000"/>
                <a:gd name="connsiteY99" fmla="*/ 738188 h 762000"/>
                <a:gd name="connsiteX100" fmla="*/ 594360 w 762000"/>
                <a:gd name="connsiteY100" fmla="*/ 593408 h 762000"/>
                <a:gd name="connsiteX101" fmla="*/ 739140 w 762000"/>
                <a:gd name="connsiteY101" fmla="*/ 593408 h 762000"/>
                <a:gd name="connsiteX102" fmla="*/ 473392 w 762000"/>
                <a:gd name="connsiteY102" fmla="*/ 340995 h 762000"/>
                <a:gd name="connsiteX103" fmla="*/ 473392 w 762000"/>
                <a:gd name="connsiteY103" fmla="*/ 434340 h 762000"/>
                <a:gd name="connsiteX104" fmla="*/ 392430 w 762000"/>
                <a:gd name="connsiteY104" fmla="*/ 481013 h 762000"/>
                <a:gd name="connsiteX105" fmla="*/ 392430 w 762000"/>
                <a:gd name="connsiteY105" fmla="*/ 387667 h 762000"/>
                <a:gd name="connsiteX106" fmla="*/ 473392 w 762000"/>
                <a:gd name="connsiteY106" fmla="*/ 340995 h 762000"/>
                <a:gd name="connsiteX107" fmla="*/ 369570 w 762000"/>
                <a:gd name="connsiteY107" fmla="*/ 387667 h 762000"/>
                <a:gd name="connsiteX108" fmla="*/ 369570 w 762000"/>
                <a:gd name="connsiteY108" fmla="*/ 481013 h 762000"/>
                <a:gd name="connsiteX109" fmla="*/ 288608 w 762000"/>
                <a:gd name="connsiteY109" fmla="*/ 434340 h 762000"/>
                <a:gd name="connsiteX110" fmla="*/ 288608 w 762000"/>
                <a:gd name="connsiteY110" fmla="*/ 340995 h 762000"/>
                <a:gd name="connsiteX111" fmla="*/ 369570 w 762000"/>
                <a:gd name="connsiteY111" fmla="*/ 387667 h 762000"/>
                <a:gd name="connsiteX112" fmla="*/ 300038 w 762000"/>
                <a:gd name="connsiteY112" fmla="*/ 320992 h 762000"/>
                <a:gd name="connsiteX113" fmla="*/ 381000 w 762000"/>
                <a:gd name="connsiteY113" fmla="*/ 274320 h 762000"/>
                <a:gd name="connsiteX114" fmla="*/ 461963 w 762000"/>
                <a:gd name="connsiteY114" fmla="*/ 320992 h 762000"/>
                <a:gd name="connsiteX115" fmla="*/ 381000 w 762000"/>
                <a:gd name="connsiteY115" fmla="*/ 367665 h 762000"/>
                <a:gd name="connsiteX116" fmla="*/ 300038 w 762000"/>
                <a:gd name="connsiteY116" fmla="*/ 320992 h 762000"/>
                <a:gd name="connsiteX117" fmla="*/ 340042 w 762000"/>
                <a:gd name="connsiteY117" fmla="*/ 148590 h 762000"/>
                <a:gd name="connsiteX118" fmla="*/ 340042 w 762000"/>
                <a:gd name="connsiteY118" fmla="*/ 66675 h 762000"/>
                <a:gd name="connsiteX119" fmla="*/ 421958 w 762000"/>
                <a:gd name="connsiteY119" fmla="*/ 66675 h 762000"/>
                <a:gd name="connsiteX120" fmla="*/ 421958 w 762000"/>
                <a:gd name="connsiteY120" fmla="*/ 148590 h 762000"/>
                <a:gd name="connsiteX121" fmla="*/ 340042 w 762000"/>
                <a:gd name="connsiteY121" fmla="*/ 148590 h 762000"/>
                <a:gd name="connsiteX122" fmla="*/ 421958 w 762000"/>
                <a:gd name="connsiteY122" fmla="*/ 619125 h 762000"/>
                <a:gd name="connsiteX123" fmla="*/ 421958 w 762000"/>
                <a:gd name="connsiteY123" fmla="*/ 701040 h 762000"/>
                <a:gd name="connsiteX124" fmla="*/ 340042 w 762000"/>
                <a:gd name="connsiteY124" fmla="*/ 701040 h 762000"/>
                <a:gd name="connsiteX125" fmla="*/ 340042 w 762000"/>
                <a:gd name="connsiteY125" fmla="*/ 619125 h 762000"/>
                <a:gd name="connsiteX126" fmla="*/ 421958 w 762000"/>
                <a:gd name="connsiteY126" fmla="*/ 619125 h 762000"/>
                <a:gd name="connsiteX127" fmla="*/ 616268 w 762000"/>
                <a:gd name="connsiteY127" fmla="*/ 421958 h 762000"/>
                <a:gd name="connsiteX128" fmla="*/ 616268 w 762000"/>
                <a:gd name="connsiteY128" fmla="*/ 340042 h 762000"/>
                <a:gd name="connsiteX129" fmla="*/ 698183 w 762000"/>
                <a:gd name="connsiteY129" fmla="*/ 340042 h 762000"/>
                <a:gd name="connsiteX130" fmla="*/ 698183 w 762000"/>
                <a:gd name="connsiteY130" fmla="*/ 421958 h 762000"/>
                <a:gd name="connsiteX131" fmla="*/ 616268 w 762000"/>
                <a:gd name="connsiteY131" fmla="*/ 421958 h 762000"/>
                <a:gd name="connsiteX132" fmla="*/ 594360 w 762000"/>
                <a:gd name="connsiteY132" fmla="*/ 167640 h 762000"/>
                <a:gd name="connsiteX133" fmla="*/ 594360 w 762000"/>
                <a:gd name="connsiteY133" fmla="*/ 22860 h 762000"/>
                <a:gd name="connsiteX134" fmla="*/ 739140 w 762000"/>
                <a:gd name="connsiteY134" fmla="*/ 22860 h 762000"/>
                <a:gd name="connsiteX135" fmla="*/ 739140 w 762000"/>
                <a:gd name="connsiteY135" fmla="*/ 167640 h 762000"/>
                <a:gd name="connsiteX136" fmla="*/ 594360 w 762000"/>
                <a:gd name="connsiteY136" fmla="*/ 167640 h 762000"/>
                <a:gd name="connsiteX137" fmla="*/ 168592 w 762000"/>
                <a:gd name="connsiteY137" fmla="*/ 22860 h 762000"/>
                <a:gd name="connsiteX138" fmla="*/ 168592 w 762000"/>
                <a:gd name="connsiteY138" fmla="*/ 167640 h 762000"/>
                <a:gd name="connsiteX139" fmla="*/ 22860 w 762000"/>
                <a:gd name="connsiteY139" fmla="*/ 167640 h 762000"/>
                <a:gd name="connsiteX140" fmla="*/ 22860 w 762000"/>
                <a:gd name="connsiteY140" fmla="*/ 22860 h 762000"/>
                <a:gd name="connsiteX141" fmla="*/ 168592 w 762000"/>
                <a:gd name="connsiteY141" fmla="*/ 22860 h 762000"/>
                <a:gd name="connsiteX142" fmla="*/ 145733 w 762000"/>
                <a:gd name="connsiteY142" fmla="*/ 340042 h 762000"/>
                <a:gd name="connsiteX143" fmla="*/ 145733 w 762000"/>
                <a:gd name="connsiteY143" fmla="*/ 421958 h 762000"/>
                <a:gd name="connsiteX144" fmla="*/ 63818 w 762000"/>
                <a:gd name="connsiteY144" fmla="*/ 421958 h 762000"/>
                <a:gd name="connsiteX145" fmla="*/ 63818 w 762000"/>
                <a:gd name="connsiteY145" fmla="*/ 340042 h 762000"/>
                <a:gd name="connsiteX146" fmla="*/ 145733 w 762000"/>
                <a:gd name="connsiteY146" fmla="*/ 340042 h 762000"/>
                <a:gd name="connsiteX147" fmla="*/ 168592 w 762000"/>
                <a:gd name="connsiteY147" fmla="*/ 593408 h 762000"/>
                <a:gd name="connsiteX148" fmla="*/ 168592 w 762000"/>
                <a:gd name="connsiteY148" fmla="*/ 738188 h 762000"/>
                <a:gd name="connsiteX149" fmla="*/ 22860 w 762000"/>
                <a:gd name="connsiteY149" fmla="*/ 738188 h 762000"/>
                <a:gd name="connsiteX150" fmla="*/ 22860 w 762000"/>
                <a:gd name="connsiteY150" fmla="*/ 593408 h 762000"/>
                <a:gd name="connsiteX151" fmla="*/ 168592 w 762000"/>
                <a:gd name="connsiteY151" fmla="*/ 59340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762000" h="762000">
                  <a:moveTo>
                    <a:pt x="750570" y="570548"/>
                  </a:moveTo>
                  <a:lnTo>
                    <a:pt x="586740" y="570548"/>
                  </a:lnTo>
                  <a:lnTo>
                    <a:pt x="475298" y="459105"/>
                  </a:lnTo>
                  <a:lnTo>
                    <a:pt x="487680" y="451485"/>
                  </a:lnTo>
                  <a:cubicBezTo>
                    <a:pt x="492442" y="448628"/>
                    <a:pt x="495300" y="443865"/>
                    <a:pt x="495300" y="438150"/>
                  </a:cubicBezTo>
                  <a:lnTo>
                    <a:pt x="495300" y="392430"/>
                  </a:lnTo>
                  <a:lnTo>
                    <a:pt x="591503" y="392430"/>
                  </a:lnTo>
                  <a:lnTo>
                    <a:pt x="591503" y="433388"/>
                  </a:lnTo>
                  <a:cubicBezTo>
                    <a:pt x="591503" y="440055"/>
                    <a:pt x="596265" y="444817"/>
                    <a:pt x="602933" y="444817"/>
                  </a:cubicBezTo>
                  <a:lnTo>
                    <a:pt x="707708" y="444817"/>
                  </a:lnTo>
                  <a:cubicBezTo>
                    <a:pt x="714375" y="444817"/>
                    <a:pt x="719138" y="440055"/>
                    <a:pt x="719138" y="433388"/>
                  </a:cubicBezTo>
                  <a:lnTo>
                    <a:pt x="719138" y="328613"/>
                  </a:lnTo>
                  <a:cubicBezTo>
                    <a:pt x="719138" y="321945"/>
                    <a:pt x="714375" y="317183"/>
                    <a:pt x="707708" y="317183"/>
                  </a:cubicBezTo>
                  <a:lnTo>
                    <a:pt x="602933" y="317183"/>
                  </a:lnTo>
                  <a:cubicBezTo>
                    <a:pt x="596265" y="317183"/>
                    <a:pt x="591503" y="321945"/>
                    <a:pt x="591503" y="328613"/>
                  </a:cubicBezTo>
                  <a:lnTo>
                    <a:pt x="591503" y="369570"/>
                  </a:lnTo>
                  <a:lnTo>
                    <a:pt x="495300" y="369570"/>
                  </a:lnTo>
                  <a:lnTo>
                    <a:pt x="495300" y="323850"/>
                  </a:lnTo>
                  <a:cubicBezTo>
                    <a:pt x="495300" y="318135"/>
                    <a:pt x="492442" y="313373"/>
                    <a:pt x="487680" y="310515"/>
                  </a:cubicBezTo>
                  <a:lnTo>
                    <a:pt x="475298" y="302895"/>
                  </a:lnTo>
                  <a:lnTo>
                    <a:pt x="586740" y="191452"/>
                  </a:lnTo>
                  <a:lnTo>
                    <a:pt x="750570" y="191452"/>
                  </a:lnTo>
                  <a:cubicBezTo>
                    <a:pt x="757238" y="191452"/>
                    <a:pt x="762000" y="186690"/>
                    <a:pt x="762000" y="180023"/>
                  </a:cubicBezTo>
                  <a:lnTo>
                    <a:pt x="762000" y="11430"/>
                  </a:lnTo>
                  <a:cubicBezTo>
                    <a:pt x="762000" y="4763"/>
                    <a:pt x="757238" y="0"/>
                    <a:pt x="750570" y="0"/>
                  </a:cubicBezTo>
                  <a:lnTo>
                    <a:pt x="581978" y="0"/>
                  </a:lnTo>
                  <a:cubicBezTo>
                    <a:pt x="575310" y="0"/>
                    <a:pt x="570548" y="4763"/>
                    <a:pt x="570548" y="11430"/>
                  </a:cubicBezTo>
                  <a:lnTo>
                    <a:pt x="570548" y="175260"/>
                  </a:lnTo>
                  <a:lnTo>
                    <a:pt x="455295" y="290513"/>
                  </a:lnTo>
                  <a:lnTo>
                    <a:pt x="392430" y="254317"/>
                  </a:lnTo>
                  <a:lnTo>
                    <a:pt x="392430" y="171450"/>
                  </a:lnTo>
                  <a:lnTo>
                    <a:pt x="433388" y="171450"/>
                  </a:lnTo>
                  <a:cubicBezTo>
                    <a:pt x="440055" y="171450"/>
                    <a:pt x="444817" y="166688"/>
                    <a:pt x="444817" y="160020"/>
                  </a:cubicBezTo>
                  <a:lnTo>
                    <a:pt x="444817" y="55245"/>
                  </a:lnTo>
                  <a:cubicBezTo>
                    <a:pt x="444817" y="48577"/>
                    <a:pt x="440055" y="43815"/>
                    <a:pt x="433388" y="43815"/>
                  </a:cubicBezTo>
                  <a:lnTo>
                    <a:pt x="328613" y="43815"/>
                  </a:lnTo>
                  <a:cubicBezTo>
                    <a:pt x="321945" y="43815"/>
                    <a:pt x="317183" y="48577"/>
                    <a:pt x="317183" y="55245"/>
                  </a:cubicBezTo>
                  <a:lnTo>
                    <a:pt x="317183" y="160020"/>
                  </a:lnTo>
                  <a:cubicBezTo>
                    <a:pt x="317183" y="166688"/>
                    <a:pt x="321945" y="171450"/>
                    <a:pt x="328613" y="171450"/>
                  </a:cubicBezTo>
                  <a:lnTo>
                    <a:pt x="369570" y="171450"/>
                  </a:lnTo>
                  <a:lnTo>
                    <a:pt x="369570" y="254317"/>
                  </a:lnTo>
                  <a:lnTo>
                    <a:pt x="306705" y="290513"/>
                  </a:lnTo>
                  <a:lnTo>
                    <a:pt x="191452" y="175260"/>
                  </a:lnTo>
                  <a:lnTo>
                    <a:pt x="191452" y="11430"/>
                  </a:lnTo>
                  <a:cubicBezTo>
                    <a:pt x="191452" y="4763"/>
                    <a:pt x="186690" y="0"/>
                    <a:pt x="180023" y="0"/>
                  </a:cubicBezTo>
                  <a:lnTo>
                    <a:pt x="11430" y="0"/>
                  </a:lnTo>
                  <a:cubicBezTo>
                    <a:pt x="4763" y="0"/>
                    <a:pt x="0" y="4763"/>
                    <a:pt x="0" y="11430"/>
                  </a:cubicBezTo>
                  <a:lnTo>
                    <a:pt x="0" y="180023"/>
                  </a:lnTo>
                  <a:cubicBezTo>
                    <a:pt x="0" y="186690"/>
                    <a:pt x="4763" y="191452"/>
                    <a:pt x="11430" y="191452"/>
                  </a:cubicBezTo>
                  <a:lnTo>
                    <a:pt x="175260" y="191452"/>
                  </a:lnTo>
                  <a:lnTo>
                    <a:pt x="286703" y="302895"/>
                  </a:lnTo>
                  <a:lnTo>
                    <a:pt x="274320" y="310515"/>
                  </a:lnTo>
                  <a:cubicBezTo>
                    <a:pt x="269558" y="313373"/>
                    <a:pt x="266700" y="318135"/>
                    <a:pt x="266700" y="323850"/>
                  </a:cubicBezTo>
                  <a:lnTo>
                    <a:pt x="266700" y="369570"/>
                  </a:lnTo>
                  <a:lnTo>
                    <a:pt x="169545" y="369570"/>
                  </a:lnTo>
                  <a:lnTo>
                    <a:pt x="169545" y="328613"/>
                  </a:lnTo>
                  <a:cubicBezTo>
                    <a:pt x="169545" y="321945"/>
                    <a:pt x="164783" y="317183"/>
                    <a:pt x="158115" y="317183"/>
                  </a:cubicBezTo>
                  <a:lnTo>
                    <a:pt x="52388" y="317183"/>
                  </a:lnTo>
                  <a:cubicBezTo>
                    <a:pt x="45720" y="317183"/>
                    <a:pt x="40957" y="321945"/>
                    <a:pt x="40957" y="328613"/>
                  </a:cubicBezTo>
                  <a:lnTo>
                    <a:pt x="40957" y="433388"/>
                  </a:lnTo>
                  <a:cubicBezTo>
                    <a:pt x="40957" y="440055"/>
                    <a:pt x="45720" y="444817"/>
                    <a:pt x="52388" y="444817"/>
                  </a:cubicBezTo>
                  <a:lnTo>
                    <a:pt x="157163" y="444817"/>
                  </a:lnTo>
                  <a:cubicBezTo>
                    <a:pt x="163830" y="444817"/>
                    <a:pt x="168592" y="440055"/>
                    <a:pt x="168592" y="433388"/>
                  </a:cubicBezTo>
                  <a:lnTo>
                    <a:pt x="168592" y="392430"/>
                  </a:lnTo>
                  <a:lnTo>
                    <a:pt x="264795" y="392430"/>
                  </a:lnTo>
                  <a:lnTo>
                    <a:pt x="264795" y="438150"/>
                  </a:lnTo>
                  <a:cubicBezTo>
                    <a:pt x="264795" y="443865"/>
                    <a:pt x="267653" y="448628"/>
                    <a:pt x="272415" y="451485"/>
                  </a:cubicBezTo>
                  <a:lnTo>
                    <a:pt x="284798" y="459105"/>
                  </a:lnTo>
                  <a:lnTo>
                    <a:pt x="173355" y="570548"/>
                  </a:lnTo>
                  <a:lnTo>
                    <a:pt x="11430" y="570548"/>
                  </a:lnTo>
                  <a:cubicBezTo>
                    <a:pt x="4763" y="570548"/>
                    <a:pt x="0" y="575310"/>
                    <a:pt x="0" y="581978"/>
                  </a:cubicBezTo>
                  <a:lnTo>
                    <a:pt x="0" y="750570"/>
                  </a:lnTo>
                  <a:cubicBezTo>
                    <a:pt x="0" y="757238"/>
                    <a:pt x="4763" y="762000"/>
                    <a:pt x="11430" y="762000"/>
                  </a:cubicBezTo>
                  <a:lnTo>
                    <a:pt x="180023" y="762000"/>
                  </a:lnTo>
                  <a:cubicBezTo>
                    <a:pt x="186690" y="762000"/>
                    <a:pt x="191452" y="757238"/>
                    <a:pt x="191452" y="750570"/>
                  </a:cubicBezTo>
                  <a:lnTo>
                    <a:pt x="191452" y="586740"/>
                  </a:lnTo>
                  <a:lnTo>
                    <a:pt x="306705" y="471488"/>
                  </a:lnTo>
                  <a:lnTo>
                    <a:pt x="369570" y="507683"/>
                  </a:lnTo>
                  <a:lnTo>
                    <a:pt x="369570" y="596265"/>
                  </a:lnTo>
                  <a:lnTo>
                    <a:pt x="328613" y="596265"/>
                  </a:lnTo>
                  <a:cubicBezTo>
                    <a:pt x="321945" y="596265"/>
                    <a:pt x="317183" y="601028"/>
                    <a:pt x="317183" y="607695"/>
                  </a:cubicBezTo>
                  <a:lnTo>
                    <a:pt x="317183" y="712470"/>
                  </a:lnTo>
                  <a:cubicBezTo>
                    <a:pt x="317183" y="719138"/>
                    <a:pt x="321945" y="723900"/>
                    <a:pt x="328613" y="723900"/>
                  </a:cubicBezTo>
                  <a:lnTo>
                    <a:pt x="433388" y="723900"/>
                  </a:lnTo>
                  <a:cubicBezTo>
                    <a:pt x="440055" y="723900"/>
                    <a:pt x="444817" y="719138"/>
                    <a:pt x="444817" y="712470"/>
                  </a:cubicBezTo>
                  <a:lnTo>
                    <a:pt x="444817" y="607695"/>
                  </a:lnTo>
                  <a:cubicBezTo>
                    <a:pt x="444817" y="601028"/>
                    <a:pt x="440055" y="596265"/>
                    <a:pt x="433388" y="596265"/>
                  </a:cubicBezTo>
                  <a:lnTo>
                    <a:pt x="392430" y="596265"/>
                  </a:lnTo>
                  <a:lnTo>
                    <a:pt x="392430" y="507683"/>
                  </a:lnTo>
                  <a:lnTo>
                    <a:pt x="455295" y="471488"/>
                  </a:lnTo>
                  <a:lnTo>
                    <a:pt x="570548" y="586740"/>
                  </a:lnTo>
                  <a:lnTo>
                    <a:pt x="570548" y="750570"/>
                  </a:lnTo>
                  <a:cubicBezTo>
                    <a:pt x="570548" y="757238"/>
                    <a:pt x="575310" y="762000"/>
                    <a:pt x="581978" y="762000"/>
                  </a:cubicBezTo>
                  <a:lnTo>
                    <a:pt x="750570" y="762000"/>
                  </a:lnTo>
                  <a:cubicBezTo>
                    <a:pt x="757238" y="762000"/>
                    <a:pt x="762000" y="757238"/>
                    <a:pt x="762000" y="750570"/>
                  </a:cubicBezTo>
                  <a:lnTo>
                    <a:pt x="762000" y="581978"/>
                  </a:lnTo>
                  <a:cubicBezTo>
                    <a:pt x="762000" y="576263"/>
                    <a:pt x="757238" y="570548"/>
                    <a:pt x="750570" y="570548"/>
                  </a:cubicBezTo>
                  <a:close/>
                  <a:moveTo>
                    <a:pt x="739140" y="593408"/>
                  </a:moveTo>
                  <a:lnTo>
                    <a:pt x="739140" y="738188"/>
                  </a:lnTo>
                  <a:lnTo>
                    <a:pt x="594360" y="738188"/>
                  </a:lnTo>
                  <a:lnTo>
                    <a:pt x="594360" y="593408"/>
                  </a:lnTo>
                  <a:lnTo>
                    <a:pt x="739140" y="593408"/>
                  </a:lnTo>
                  <a:close/>
                  <a:moveTo>
                    <a:pt x="473392" y="340995"/>
                  </a:moveTo>
                  <a:lnTo>
                    <a:pt x="473392" y="434340"/>
                  </a:lnTo>
                  <a:lnTo>
                    <a:pt x="392430" y="481013"/>
                  </a:lnTo>
                  <a:lnTo>
                    <a:pt x="392430" y="387667"/>
                  </a:lnTo>
                  <a:lnTo>
                    <a:pt x="473392" y="340995"/>
                  </a:lnTo>
                  <a:close/>
                  <a:moveTo>
                    <a:pt x="369570" y="387667"/>
                  </a:moveTo>
                  <a:lnTo>
                    <a:pt x="369570" y="481013"/>
                  </a:lnTo>
                  <a:lnTo>
                    <a:pt x="288608" y="434340"/>
                  </a:lnTo>
                  <a:lnTo>
                    <a:pt x="288608" y="340995"/>
                  </a:lnTo>
                  <a:lnTo>
                    <a:pt x="369570" y="387667"/>
                  </a:lnTo>
                  <a:close/>
                  <a:moveTo>
                    <a:pt x="300038" y="320992"/>
                  </a:moveTo>
                  <a:lnTo>
                    <a:pt x="381000" y="274320"/>
                  </a:lnTo>
                  <a:lnTo>
                    <a:pt x="461963" y="320992"/>
                  </a:lnTo>
                  <a:lnTo>
                    <a:pt x="381000" y="367665"/>
                  </a:lnTo>
                  <a:lnTo>
                    <a:pt x="300038" y="320992"/>
                  </a:lnTo>
                  <a:close/>
                  <a:moveTo>
                    <a:pt x="340042" y="148590"/>
                  </a:moveTo>
                  <a:lnTo>
                    <a:pt x="340042" y="66675"/>
                  </a:lnTo>
                  <a:lnTo>
                    <a:pt x="421958" y="66675"/>
                  </a:lnTo>
                  <a:lnTo>
                    <a:pt x="421958" y="148590"/>
                  </a:lnTo>
                  <a:lnTo>
                    <a:pt x="340042" y="148590"/>
                  </a:lnTo>
                  <a:close/>
                  <a:moveTo>
                    <a:pt x="421958" y="619125"/>
                  </a:moveTo>
                  <a:lnTo>
                    <a:pt x="421958" y="701040"/>
                  </a:lnTo>
                  <a:lnTo>
                    <a:pt x="340042" y="701040"/>
                  </a:lnTo>
                  <a:lnTo>
                    <a:pt x="340042" y="619125"/>
                  </a:lnTo>
                  <a:lnTo>
                    <a:pt x="421958" y="619125"/>
                  </a:lnTo>
                  <a:close/>
                  <a:moveTo>
                    <a:pt x="616268" y="421958"/>
                  </a:moveTo>
                  <a:lnTo>
                    <a:pt x="616268" y="340042"/>
                  </a:lnTo>
                  <a:lnTo>
                    <a:pt x="698183" y="340042"/>
                  </a:lnTo>
                  <a:lnTo>
                    <a:pt x="698183" y="421958"/>
                  </a:lnTo>
                  <a:lnTo>
                    <a:pt x="616268" y="421958"/>
                  </a:lnTo>
                  <a:close/>
                  <a:moveTo>
                    <a:pt x="594360" y="167640"/>
                  </a:moveTo>
                  <a:lnTo>
                    <a:pt x="594360" y="22860"/>
                  </a:lnTo>
                  <a:lnTo>
                    <a:pt x="739140" y="22860"/>
                  </a:lnTo>
                  <a:lnTo>
                    <a:pt x="739140" y="167640"/>
                  </a:lnTo>
                  <a:lnTo>
                    <a:pt x="594360" y="167640"/>
                  </a:lnTo>
                  <a:close/>
                  <a:moveTo>
                    <a:pt x="168592" y="22860"/>
                  </a:moveTo>
                  <a:lnTo>
                    <a:pt x="168592" y="167640"/>
                  </a:lnTo>
                  <a:lnTo>
                    <a:pt x="22860" y="167640"/>
                  </a:lnTo>
                  <a:lnTo>
                    <a:pt x="22860" y="22860"/>
                  </a:lnTo>
                  <a:lnTo>
                    <a:pt x="168592" y="22860"/>
                  </a:lnTo>
                  <a:close/>
                  <a:moveTo>
                    <a:pt x="145733" y="340042"/>
                  </a:moveTo>
                  <a:lnTo>
                    <a:pt x="145733" y="421958"/>
                  </a:lnTo>
                  <a:lnTo>
                    <a:pt x="63818" y="421958"/>
                  </a:lnTo>
                  <a:lnTo>
                    <a:pt x="63818" y="340042"/>
                  </a:lnTo>
                  <a:lnTo>
                    <a:pt x="145733" y="340042"/>
                  </a:lnTo>
                  <a:close/>
                  <a:moveTo>
                    <a:pt x="168592" y="593408"/>
                  </a:moveTo>
                  <a:lnTo>
                    <a:pt x="168592" y="738188"/>
                  </a:lnTo>
                  <a:lnTo>
                    <a:pt x="22860" y="738188"/>
                  </a:lnTo>
                  <a:lnTo>
                    <a:pt x="22860" y="593408"/>
                  </a:lnTo>
                  <a:lnTo>
                    <a:pt x="168592" y="593408"/>
                  </a:lnTo>
                  <a:close/>
                </a:path>
              </a:pathLst>
            </a:custGeom>
            <a:solidFill>
              <a:schemeClr val="bg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06326060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p:cTn id="7" dur="1000" fill="hold"/>
                                        <p:tgtEl>
                                          <p:spTgt spid="43"/>
                                        </p:tgtEl>
                                        <p:attrNameLst>
                                          <p:attrName>ppt_w</p:attrName>
                                        </p:attrNameLst>
                                      </p:cBhvr>
                                      <p:tavLst>
                                        <p:tav tm="0">
                                          <p:val>
                                            <p:fltVal val="0"/>
                                          </p:val>
                                        </p:tav>
                                        <p:tav tm="100000">
                                          <p:val>
                                            <p:strVal val="#ppt_w"/>
                                          </p:val>
                                        </p:tav>
                                      </p:tavLst>
                                    </p:anim>
                                    <p:anim calcmode="lin" valueType="num">
                                      <p:cBhvr>
                                        <p:cTn id="8" dur="1000" fill="hold"/>
                                        <p:tgtEl>
                                          <p:spTgt spid="43"/>
                                        </p:tgtEl>
                                        <p:attrNameLst>
                                          <p:attrName>ppt_h</p:attrName>
                                        </p:attrNameLst>
                                      </p:cBhvr>
                                      <p:tavLst>
                                        <p:tav tm="0">
                                          <p:val>
                                            <p:fltVal val="0"/>
                                          </p:val>
                                        </p:tav>
                                        <p:tav tm="100000">
                                          <p:val>
                                            <p:strVal val="#ppt_h"/>
                                          </p:val>
                                        </p:tav>
                                      </p:tavLst>
                                    </p:anim>
                                    <p:anim calcmode="lin" valueType="num">
                                      <p:cBhvr>
                                        <p:cTn id="9" dur="1000" fill="hold"/>
                                        <p:tgtEl>
                                          <p:spTgt spid="43"/>
                                        </p:tgtEl>
                                        <p:attrNameLst>
                                          <p:attrName>style.rotation</p:attrName>
                                        </p:attrNameLst>
                                      </p:cBhvr>
                                      <p:tavLst>
                                        <p:tav tm="0">
                                          <p:val>
                                            <p:fltVal val="90"/>
                                          </p:val>
                                        </p:tav>
                                        <p:tav tm="100000">
                                          <p:val>
                                            <p:fltVal val="0"/>
                                          </p:val>
                                        </p:tav>
                                      </p:tavLst>
                                    </p:anim>
                                    <p:animEffect transition="in" filter="fade">
                                      <p:cBhvr>
                                        <p:cTn id="10" dur="1000"/>
                                        <p:tgtEl>
                                          <p:spTgt spid="43"/>
                                        </p:tgtEl>
                                      </p:cBhvr>
                                    </p:animEffect>
                                  </p:childTnLst>
                                </p:cTn>
                              </p:par>
                              <p:par>
                                <p:cTn id="11" presetID="3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p:cTn id="13" dur="1000" fill="hold"/>
                                        <p:tgtEl>
                                          <p:spTgt spid="27"/>
                                        </p:tgtEl>
                                        <p:attrNameLst>
                                          <p:attrName>ppt_w</p:attrName>
                                        </p:attrNameLst>
                                      </p:cBhvr>
                                      <p:tavLst>
                                        <p:tav tm="0">
                                          <p:val>
                                            <p:fltVal val="0"/>
                                          </p:val>
                                        </p:tav>
                                        <p:tav tm="100000">
                                          <p:val>
                                            <p:strVal val="#ppt_w"/>
                                          </p:val>
                                        </p:tav>
                                      </p:tavLst>
                                    </p:anim>
                                    <p:anim calcmode="lin" valueType="num">
                                      <p:cBhvr>
                                        <p:cTn id="14" dur="1000" fill="hold"/>
                                        <p:tgtEl>
                                          <p:spTgt spid="27"/>
                                        </p:tgtEl>
                                        <p:attrNameLst>
                                          <p:attrName>ppt_h</p:attrName>
                                        </p:attrNameLst>
                                      </p:cBhvr>
                                      <p:tavLst>
                                        <p:tav tm="0">
                                          <p:val>
                                            <p:fltVal val="0"/>
                                          </p:val>
                                        </p:tav>
                                        <p:tav tm="100000">
                                          <p:val>
                                            <p:strVal val="#ppt_h"/>
                                          </p:val>
                                        </p:tav>
                                      </p:tavLst>
                                    </p:anim>
                                    <p:anim calcmode="lin" valueType="num">
                                      <p:cBhvr>
                                        <p:cTn id="15" dur="1000" fill="hold"/>
                                        <p:tgtEl>
                                          <p:spTgt spid="27"/>
                                        </p:tgtEl>
                                        <p:attrNameLst>
                                          <p:attrName>style.rotation</p:attrName>
                                        </p:attrNameLst>
                                      </p:cBhvr>
                                      <p:tavLst>
                                        <p:tav tm="0">
                                          <p:val>
                                            <p:fltVal val="90"/>
                                          </p:val>
                                        </p:tav>
                                        <p:tav tm="100000">
                                          <p:val>
                                            <p:fltVal val="0"/>
                                          </p:val>
                                        </p:tav>
                                      </p:tavLst>
                                    </p:anim>
                                    <p:animEffect transition="in" filter="fade">
                                      <p:cBhvr>
                                        <p:cTn id="16" dur="1000"/>
                                        <p:tgtEl>
                                          <p:spTgt spid="27"/>
                                        </p:tgtEl>
                                      </p:cBhvr>
                                    </p:animEffect>
                                  </p:childTnLst>
                                </p:cTn>
                              </p:par>
                              <p:par>
                                <p:cTn id="17" presetID="31"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anim calcmode="lin" valueType="num">
                                      <p:cBhvr>
                                        <p:cTn id="19" dur="1000" fill="hold"/>
                                        <p:tgtEl>
                                          <p:spTgt spid="33"/>
                                        </p:tgtEl>
                                        <p:attrNameLst>
                                          <p:attrName>ppt_w</p:attrName>
                                        </p:attrNameLst>
                                      </p:cBhvr>
                                      <p:tavLst>
                                        <p:tav tm="0">
                                          <p:val>
                                            <p:fltVal val="0"/>
                                          </p:val>
                                        </p:tav>
                                        <p:tav tm="100000">
                                          <p:val>
                                            <p:strVal val="#ppt_w"/>
                                          </p:val>
                                        </p:tav>
                                      </p:tavLst>
                                    </p:anim>
                                    <p:anim calcmode="lin" valueType="num">
                                      <p:cBhvr>
                                        <p:cTn id="20" dur="1000" fill="hold"/>
                                        <p:tgtEl>
                                          <p:spTgt spid="33"/>
                                        </p:tgtEl>
                                        <p:attrNameLst>
                                          <p:attrName>ppt_h</p:attrName>
                                        </p:attrNameLst>
                                      </p:cBhvr>
                                      <p:tavLst>
                                        <p:tav tm="0">
                                          <p:val>
                                            <p:fltVal val="0"/>
                                          </p:val>
                                        </p:tav>
                                        <p:tav tm="100000">
                                          <p:val>
                                            <p:strVal val="#ppt_h"/>
                                          </p:val>
                                        </p:tav>
                                      </p:tavLst>
                                    </p:anim>
                                    <p:anim calcmode="lin" valueType="num">
                                      <p:cBhvr>
                                        <p:cTn id="21" dur="1000" fill="hold"/>
                                        <p:tgtEl>
                                          <p:spTgt spid="33"/>
                                        </p:tgtEl>
                                        <p:attrNameLst>
                                          <p:attrName>style.rotation</p:attrName>
                                        </p:attrNameLst>
                                      </p:cBhvr>
                                      <p:tavLst>
                                        <p:tav tm="0">
                                          <p:val>
                                            <p:fltVal val="90"/>
                                          </p:val>
                                        </p:tav>
                                        <p:tav tm="100000">
                                          <p:val>
                                            <p:fltVal val="0"/>
                                          </p:val>
                                        </p:tav>
                                      </p:tavLst>
                                    </p:anim>
                                    <p:animEffect transition="in" filter="fade">
                                      <p:cBhvr>
                                        <p:cTn id="22" dur="1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rapezoid 2">
            <a:extLst>
              <a:ext uri="{FF2B5EF4-FFF2-40B4-BE49-F238E27FC236}">
                <a16:creationId xmlns:a16="http://schemas.microsoft.com/office/drawing/2014/main" id="{EE535A34-1DDA-F9BE-CF88-BFED5042E3DA}"/>
              </a:ext>
            </a:extLst>
          </p:cNvPr>
          <p:cNvSpPr/>
          <p:nvPr/>
        </p:nvSpPr>
        <p:spPr>
          <a:xfrm rot="5400000" flipH="1">
            <a:off x="1979911" y="735683"/>
            <a:ext cx="4115389" cy="5948382"/>
          </a:xfrm>
          <a:prstGeom prst="trapezoid">
            <a:avLst>
              <a:gd name="adj" fmla="val 20492"/>
            </a:avLst>
          </a:prstGeom>
          <a:gradFill>
            <a:gsLst>
              <a:gs pos="11000">
                <a:schemeClr val="bg1">
                  <a:alpha val="0"/>
                </a:schemeClr>
              </a:gs>
              <a:gs pos="54000">
                <a:schemeClr val="accent2">
                  <a:lumMod val="60000"/>
                  <a:lumOff val="40000"/>
                </a:schemeClr>
              </a:gs>
              <a:gs pos="92000">
                <a:srgbClr val="0097AB"/>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 Placeholder 34">
            <a:extLst>
              <a:ext uri="{FF2B5EF4-FFF2-40B4-BE49-F238E27FC236}">
                <a16:creationId xmlns:a16="http://schemas.microsoft.com/office/drawing/2014/main" id="{0CA0A120-B971-15D7-FAE8-BBF54CC116B8}"/>
              </a:ext>
            </a:extLst>
          </p:cNvPr>
          <p:cNvSpPr>
            <a:spLocks noGrp="1"/>
          </p:cNvSpPr>
          <p:nvPr>
            <p:ph type="body" sz="quarter" idx="16"/>
          </p:nvPr>
        </p:nvSpPr>
        <p:spPr>
          <a:xfrm>
            <a:off x="775504" y="89824"/>
            <a:ext cx="10625921" cy="450850"/>
          </a:xfrm>
        </p:spPr>
        <p:txBody>
          <a:bodyPr/>
          <a:lstStyle/>
          <a:p>
            <a:pPr marL="0" indent="0" algn="ctr">
              <a:buNone/>
            </a:pPr>
            <a:r>
              <a:rPr lang="en-US" sz="1400" dirty="0"/>
              <a:t>Flagship Research </a:t>
            </a:r>
          </a:p>
        </p:txBody>
      </p:sp>
      <p:sp>
        <p:nvSpPr>
          <p:cNvPr id="12" name="Title 1">
            <a:extLst>
              <a:ext uri="{FF2B5EF4-FFF2-40B4-BE49-F238E27FC236}">
                <a16:creationId xmlns:a16="http://schemas.microsoft.com/office/drawing/2014/main" id="{B0FD646F-BA3D-C8F6-87D1-B7CE770B2D32}"/>
              </a:ext>
            </a:extLst>
          </p:cNvPr>
          <p:cNvSpPr>
            <a:spLocks noGrp="1"/>
          </p:cNvSpPr>
          <p:nvPr>
            <p:ph type="title"/>
          </p:nvPr>
        </p:nvSpPr>
        <p:spPr>
          <a:xfrm>
            <a:off x="752437" y="634337"/>
            <a:ext cx="10625921" cy="852627"/>
          </a:xfrm>
        </p:spPr>
        <p:txBody>
          <a:bodyPr/>
          <a:lstStyle/>
          <a:p>
            <a:pPr algn="ctr"/>
            <a:r>
              <a:rPr lang="en-US"/>
              <a:t>The CAQH Annual Index Report</a:t>
            </a:r>
          </a:p>
        </p:txBody>
      </p:sp>
      <p:sp>
        <p:nvSpPr>
          <p:cNvPr id="2" name="Content Placeholder 2">
            <a:extLst>
              <a:ext uri="{FF2B5EF4-FFF2-40B4-BE49-F238E27FC236}">
                <a16:creationId xmlns:a16="http://schemas.microsoft.com/office/drawing/2014/main" id="{48302A2A-799F-A25D-1511-815ACA2B9A23}"/>
              </a:ext>
            </a:extLst>
          </p:cNvPr>
          <p:cNvSpPr txBox="1">
            <a:spLocks/>
          </p:cNvSpPr>
          <p:nvPr/>
        </p:nvSpPr>
        <p:spPr>
          <a:xfrm>
            <a:off x="434622" y="1389992"/>
            <a:ext cx="11338277" cy="478084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8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439738" indent="-236538"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654050" indent="-225425" algn="l" defTabSz="914400" rtl="0" eaLnBrk="1" latinLnBrk="0" hangingPunct="1">
              <a:lnSpc>
                <a:spcPct val="90000"/>
              </a:lnSpc>
              <a:spcBef>
                <a:spcPts val="800"/>
              </a:spcBef>
              <a:buFont typeface="Arial" panose="020B0604020202020204" pitchFamily="34" charset="0"/>
              <a:buChar char="&gt;"/>
              <a:defRPr sz="1400" kern="1200">
                <a:solidFill>
                  <a:schemeClr val="tx1"/>
                </a:solidFill>
                <a:latin typeface="+mn-lt"/>
                <a:ea typeface="+mn-ea"/>
                <a:cs typeface="+mn-cs"/>
              </a:defRPr>
            </a:lvl3pPr>
            <a:lvl4pPr marL="857250" indent="-225425" algn="l" defTabSz="914400" rtl="0" eaLnBrk="1" latinLnBrk="0" hangingPunct="1">
              <a:lnSpc>
                <a:spcPct val="90000"/>
              </a:lnSpc>
              <a:spcBef>
                <a:spcPts val="800"/>
              </a:spcBef>
              <a:buFont typeface="Arial" panose="020B0604020202020204" pitchFamily="34" charset="0"/>
              <a:buChar char="–"/>
              <a:defRPr sz="1200" kern="1200">
                <a:solidFill>
                  <a:schemeClr val="tx1"/>
                </a:solidFill>
                <a:latin typeface="+mn-lt"/>
                <a:ea typeface="+mn-ea"/>
                <a:cs typeface="+mn-cs"/>
              </a:defRPr>
            </a:lvl4pPr>
            <a:lvl5pPr marL="1027113" indent="-169863" algn="l" defTabSz="914400" rtl="0" eaLnBrk="1" latinLnBrk="0" hangingPunct="1">
              <a:lnSpc>
                <a:spcPct val="90000"/>
              </a:lnSpc>
              <a:spcBef>
                <a:spcPts val="8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endParaRPr lang="en-US"/>
          </a:p>
        </p:txBody>
      </p:sp>
      <p:sp>
        <p:nvSpPr>
          <p:cNvPr id="4" name="TextBox 3">
            <a:extLst>
              <a:ext uri="{FF2B5EF4-FFF2-40B4-BE49-F238E27FC236}">
                <a16:creationId xmlns:a16="http://schemas.microsoft.com/office/drawing/2014/main" id="{2E97BC0E-E43F-011D-7217-F9C7039410C6}"/>
              </a:ext>
            </a:extLst>
          </p:cNvPr>
          <p:cNvSpPr txBox="1"/>
          <p:nvPr/>
        </p:nvSpPr>
        <p:spPr>
          <a:xfrm>
            <a:off x="7000236" y="1545676"/>
            <a:ext cx="4477661" cy="4829527"/>
          </a:xfrm>
          <a:prstGeom prst="rect">
            <a:avLst/>
          </a:prstGeom>
          <a:noFill/>
        </p:spPr>
        <p:txBody>
          <a:bodyPr wrap="square">
            <a:spAutoFit/>
          </a:bodyPr>
          <a:lstStyle/>
          <a:p>
            <a:pPr>
              <a:spcAft>
                <a:spcPts val="200"/>
              </a:spcAft>
            </a:pPr>
            <a:r>
              <a:rPr lang="en-US" sz="1400" b="1" dirty="0">
                <a:solidFill>
                  <a:schemeClr val="accent1"/>
                </a:solidFill>
              </a:rPr>
              <a:t>Premier National Benchmarking Survey</a:t>
            </a:r>
            <a:endParaRPr lang="en-US" sz="1400" dirty="0">
              <a:solidFill>
                <a:schemeClr val="accent1"/>
              </a:solidFill>
            </a:endParaRPr>
          </a:p>
          <a:p>
            <a:pPr marL="171450" indent="-171450">
              <a:spcAft>
                <a:spcPts val="200"/>
              </a:spcAft>
              <a:buFont typeface="Arial" panose="020B0604020202020204" pitchFamily="34" charset="0"/>
              <a:buChar char="•"/>
            </a:pPr>
            <a:r>
              <a:rPr lang="en-US" sz="1200" dirty="0"/>
              <a:t>Trends adoption of fully electronic administrative workflows</a:t>
            </a:r>
          </a:p>
          <a:p>
            <a:pPr marL="171450" indent="-171450">
              <a:spcAft>
                <a:spcPts val="200"/>
              </a:spcAft>
              <a:buFont typeface="Arial" panose="020B0604020202020204" pitchFamily="34" charset="0"/>
              <a:buChar char="•"/>
            </a:pPr>
            <a:r>
              <a:rPr lang="en-US" sz="1200" dirty="0"/>
              <a:t>Estimates partially electronic portal use and fully manual use</a:t>
            </a:r>
          </a:p>
          <a:p>
            <a:pPr marL="171450" indent="-171450">
              <a:spcAft>
                <a:spcPts val="200"/>
              </a:spcAft>
              <a:buFont typeface="Arial" panose="020B0604020202020204" pitchFamily="34" charset="0"/>
              <a:buChar char="•"/>
            </a:pPr>
            <a:r>
              <a:rPr lang="en-US" sz="1200" dirty="0"/>
              <a:t>Estimates cost and time savings opportunities</a:t>
            </a:r>
          </a:p>
          <a:p>
            <a:pPr marL="171450" indent="-171450">
              <a:spcAft>
                <a:spcPts val="200"/>
              </a:spcAft>
              <a:buFont typeface="Arial" panose="020B0604020202020204" pitchFamily="34" charset="0"/>
              <a:buChar char="•"/>
            </a:pPr>
            <a:r>
              <a:rPr lang="en-US" sz="1200" dirty="0"/>
              <a:t>Estimates national cost avoided and spend</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spcAft>
                <a:spcPts val="300"/>
              </a:spcAft>
            </a:pPr>
            <a:r>
              <a:rPr lang="en-US" sz="1400" b="1" dirty="0">
                <a:solidFill>
                  <a:schemeClr val="accent2"/>
                </a:solidFill>
              </a:rPr>
              <a:t>A Tool to Track and Monitor Industry Progress</a:t>
            </a:r>
            <a:endParaRPr lang="en-US" sz="1400" dirty="0">
              <a:solidFill>
                <a:schemeClr val="accent2"/>
              </a:solidFill>
            </a:endParaRPr>
          </a:p>
          <a:p>
            <a:pPr marL="171450" indent="-171450">
              <a:spcAft>
                <a:spcPts val="300"/>
              </a:spcAft>
              <a:buFont typeface="Arial" panose="020B0604020202020204" pitchFamily="34" charset="0"/>
              <a:buChar char="•"/>
            </a:pPr>
            <a:r>
              <a:rPr lang="en-US" sz="1200" dirty="0"/>
              <a:t>Tracks industry progress in the ongoing transition from manual to electronic administrative transactions</a:t>
            </a:r>
          </a:p>
          <a:p>
            <a:pPr marL="171450" indent="-171450">
              <a:spcAft>
                <a:spcPts val="300"/>
              </a:spcAft>
              <a:buFont typeface="Arial" panose="020B0604020202020204" pitchFamily="34" charset="0"/>
              <a:buChar char="•"/>
            </a:pPr>
            <a:r>
              <a:rPr lang="en-US" sz="1200" dirty="0"/>
              <a:t>Monitoring progress makes it possible to identify successes and to make course corrections when necessary</a:t>
            </a:r>
          </a:p>
          <a:p>
            <a:pPr marL="171450" indent="-171450">
              <a:buFont typeface="Arial" panose="020B0604020202020204" pitchFamily="34" charset="0"/>
              <a:buChar char="•"/>
            </a:pPr>
            <a:endParaRPr lang="en-US" sz="1200" dirty="0"/>
          </a:p>
          <a:p>
            <a:endParaRPr lang="en-US" sz="1200" dirty="0">
              <a:solidFill>
                <a:srgbClr val="4A5BB6"/>
              </a:solidFill>
            </a:endParaRPr>
          </a:p>
          <a:p>
            <a:pPr>
              <a:spcAft>
                <a:spcPts val="300"/>
              </a:spcAft>
            </a:pPr>
            <a:r>
              <a:rPr lang="en-US" sz="1400" b="1" dirty="0">
                <a:solidFill>
                  <a:schemeClr val="accent4"/>
                </a:solidFill>
              </a:rPr>
              <a:t>A Collaborative Initiative</a:t>
            </a:r>
            <a:endParaRPr lang="en-US" sz="1400" dirty="0">
              <a:solidFill>
                <a:schemeClr val="accent4"/>
              </a:solidFill>
            </a:endParaRPr>
          </a:p>
          <a:p>
            <a:pPr>
              <a:spcAft>
                <a:spcPts val="300"/>
              </a:spcAft>
            </a:pPr>
            <a:r>
              <a:rPr lang="en-US" sz="1200" dirty="0"/>
              <a:t>Guided by the CAQH Index Advisory Council which is:</a:t>
            </a:r>
          </a:p>
          <a:p>
            <a:pPr marL="171450" indent="-171450">
              <a:spcAft>
                <a:spcPts val="300"/>
              </a:spcAft>
              <a:buFont typeface="Arial" panose="020B0604020202020204" pitchFamily="34" charset="0"/>
              <a:buChar char="•"/>
            </a:pPr>
            <a:r>
              <a:rPr lang="en-US" sz="1200" dirty="0"/>
              <a:t>Comprised of experts in administrative transactions, </a:t>
            </a:r>
            <a:br>
              <a:rPr lang="en-US" sz="1200" dirty="0"/>
            </a:br>
            <a:r>
              <a:rPr lang="en-US" sz="1200" dirty="0"/>
              <a:t>data analysis and healthcare management</a:t>
            </a:r>
          </a:p>
          <a:p>
            <a:pPr marL="171450" indent="-171450">
              <a:spcAft>
                <a:spcPts val="300"/>
              </a:spcAft>
              <a:buFont typeface="Arial" panose="020B0604020202020204" pitchFamily="34" charset="0"/>
              <a:buChar char="•"/>
            </a:pPr>
            <a:r>
              <a:rPr lang="en-US" sz="1200" dirty="0"/>
              <a:t>Represents providers, health plans, SDOs, vendors </a:t>
            </a:r>
            <a:br>
              <a:rPr lang="en-US" sz="1200" dirty="0"/>
            </a:br>
            <a:r>
              <a:rPr lang="en-US" sz="1200" dirty="0"/>
              <a:t>and other industry partners </a:t>
            </a:r>
          </a:p>
          <a:p>
            <a:endParaRPr lang="en-US" sz="1200" dirty="0"/>
          </a:p>
        </p:txBody>
      </p:sp>
      <p:grpSp>
        <p:nvGrpSpPr>
          <p:cNvPr id="5" name="Group 4">
            <a:extLst>
              <a:ext uri="{FF2B5EF4-FFF2-40B4-BE49-F238E27FC236}">
                <a16:creationId xmlns:a16="http://schemas.microsoft.com/office/drawing/2014/main" id="{1A34ED31-6BEE-0F47-B17D-E2ED4F8DA97B}"/>
              </a:ext>
            </a:extLst>
          </p:cNvPr>
          <p:cNvGrpSpPr>
            <a:grpSpLocks noChangeAspect="1"/>
          </p:cNvGrpSpPr>
          <p:nvPr/>
        </p:nvGrpSpPr>
        <p:grpSpPr>
          <a:xfrm flipV="1">
            <a:off x="5927231" y="3206975"/>
            <a:ext cx="912776" cy="912776"/>
            <a:chOff x="3328914" y="2268844"/>
            <a:chExt cx="1535648" cy="1535648"/>
          </a:xfrm>
          <a:solidFill>
            <a:schemeClr val="accent1">
              <a:lumMod val="40000"/>
              <a:lumOff val="60000"/>
            </a:schemeClr>
          </a:solidFill>
        </p:grpSpPr>
        <p:sp>
          <p:nvSpPr>
            <p:cNvPr id="6" name="Oval 5">
              <a:extLst>
                <a:ext uri="{FF2B5EF4-FFF2-40B4-BE49-F238E27FC236}">
                  <a16:creationId xmlns:a16="http://schemas.microsoft.com/office/drawing/2014/main" id="{EE3CC7D6-4423-B121-DA56-D12552C9059C}"/>
                </a:ext>
              </a:extLst>
            </p:cNvPr>
            <p:cNvSpPr/>
            <p:nvPr/>
          </p:nvSpPr>
          <p:spPr>
            <a:xfrm>
              <a:off x="3328914" y="2268844"/>
              <a:ext cx="1535648" cy="15356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424AAE40-F6E6-8366-3CFF-CF71A6882AF5}"/>
                </a:ext>
              </a:extLst>
            </p:cNvPr>
            <p:cNvPicPr>
              <a:picLocks noChangeAspect="1"/>
            </p:cNvPicPr>
            <p:nvPr/>
          </p:nvPicPr>
          <p:blipFill>
            <a:blip r:embed="rId3"/>
            <a:stretch>
              <a:fillRect/>
            </a:stretch>
          </p:blipFill>
          <p:spPr>
            <a:xfrm>
              <a:off x="3408495" y="2698058"/>
              <a:ext cx="1115521" cy="644751"/>
            </a:xfrm>
            <a:prstGeom prst="rect">
              <a:avLst/>
            </a:prstGeom>
            <a:solidFill>
              <a:schemeClr val="accent2"/>
            </a:solidFill>
          </p:spPr>
        </p:pic>
      </p:grpSp>
      <p:cxnSp>
        <p:nvCxnSpPr>
          <p:cNvPr id="8" name="Straight Arrow Connector 7">
            <a:extLst>
              <a:ext uri="{FF2B5EF4-FFF2-40B4-BE49-F238E27FC236}">
                <a16:creationId xmlns:a16="http://schemas.microsoft.com/office/drawing/2014/main" id="{A036E6F4-C6E6-3E47-CA57-29D0FCABD5B0}"/>
              </a:ext>
            </a:extLst>
          </p:cNvPr>
          <p:cNvCxnSpPr>
            <a:cxnSpLocks/>
          </p:cNvCxnSpPr>
          <p:nvPr/>
        </p:nvCxnSpPr>
        <p:spPr>
          <a:xfrm>
            <a:off x="4183380" y="3663363"/>
            <a:ext cx="174385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991C6C3-DA78-208A-743C-BEDFCCA4FDF4}"/>
              </a:ext>
            </a:extLst>
          </p:cNvPr>
          <p:cNvCxnSpPr>
            <a:cxnSpLocks/>
          </p:cNvCxnSpPr>
          <p:nvPr/>
        </p:nvCxnSpPr>
        <p:spPr>
          <a:xfrm>
            <a:off x="4183380" y="3663363"/>
            <a:ext cx="1773156" cy="12393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3C50086-DF31-71B5-33EB-49D59192A57F}"/>
              </a:ext>
            </a:extLst>
          </p:cNvPr>
          <p:cNvCxnSpPr>
            <a:cxnSpLocks/>
          </p:cNvCxnSpPr>
          <p:nvPr/>
        </p:nvCxnSpPr>
        <p:spPr>
          <a:xfrm flipV="1">
            <a:off x="4183380" y="2416923"/>
            <a:ext cx="1773156" cy="12464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0BCF6205-ABBB-3C6F-1135-030A63C60096}"/>
              </a:ext>
            </a:extLst>
          </p:cNvPr>
          <p:cNvSpPr/>
          <p:nvPr/>
        </p:nvSpPr>
        <p:spPr>
          <a:xfrm>
            <a:off x="5925419" y="4673612"/>
            <a:ext cx="915887" cy="91588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85BA2CF-B413-4D9A-1BC8-BEA1AF875B31}"/>
              </a:ext>
            </a:extLst>
          </p:cNvPr>
          <p:cNvGrpSpPr/>
          <p:nvPr/>
        </p:nvGrpSpPr>
        <p:grpSpPr>
          <a:xfrm>
            <a:off x="6070836" y="4902751"/>
            <a:ext cx="634371" cy="436880"/>
            <a:chOff x="10751162" y="1442911"/>
            <a:chExt cx="634371" cy="436880"/>
          </a:xfrm>
          <a:solidFill>
            <a:schemeClr val="bg1"/>
          </a:solidFill>
        </p:grpSpPr>
        <p:sp>
          <p:nvSpPr>
            <p:cNvPr id="15" name="Freeform 649">
              <a:extLst>
                <a:ext uri="{FF2B5EF4-FFF2-40B4-BE49-F238E27FC236}">
                  <a16:creationId xmlns:a16="http://schemas.microsoft.com/office/drawing/2014/main" id="{C550C831-2D61-D545-F5B5-F9C549781593}"/>
                </a:ext>
              </a:extLst>
            </p:cNvPr>
            <p:cNvSpPr/>
            <p:nvPr/>
          </p:nvSpPr>
          <p:spPr>
            <a:xfrm>
              <a:off x="11208362" y="1442911"/>
              <a:ext cx="149860" cy="149859"/>
            </a:xfrm>
            <a:custGeom>
              <a:avLst/>
              <a:gdLst>
                <a:gd name="connsiteX0" fmla="*/ 112395 w 224790"/>
                <a:gd name="connsiteY0" fmla="*/ 0 h 224789"/>
                <a:gd name="connsiteX1" fmla="*/ 0 w 224790"/>
                <a:gd name="connsiteY1" fmla="*/ 112395 h 224789"/>
                <a:gd name="connsiteX2" fmla="*/ 112395 w 224790"/>
                <a:gd name="connsiteY2" fmla="*/ 224790 h 224789"/>
                <a:gd name="connsiteX3" fmla="*/ 224790 w 224790"/>
                <a:gd name="connsiteY3" fmla="*/ 112395 h 224789"/>
                <a:gd name="connsiteX4" fmla="*/ 112395 w 224790"/>
                <a:gd name="connsiteY4" fmla="*/ 0 h 224789"/>
                <a:gd name="connsiteX5" fmla="*/ 112395 w 224790"/>
                <a:gd name="connsiteY5" fmla="*/ 200977 h 224789"/>
                <a:gd name="connsiteX6" fmla="*/ 23813 w 224790"/>
                <a:gd name="connsiteY6" fmla="*/ 112395 h 224789"/>
                <a:gd name="connsiteX7" fmla="*/ 112395 w 224790"/>
                <a:gd name="connsiteY7" fmla="*/ 23813 h 224789"/>
                <a:gd name="connsiteX8" fmla="*/ 200978 w 224790"/>
                <a:gd name="connsiteY8" fmla="*/ 112395 h 224789"/>
                <a:gd name="connsiteX9" fmla="*/ 112395 w 224790"/>
                <a:gd name="connsiteY9" fmla="*/ 200977 h 22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790" h="224789">
                  <a:moveTo>
                    <a:pt x="112395" y="0"/>
                  </a:moveTo>
                  <a:cubicBezTo>
                    <a:pt x="50483" y="0"/>
                    <a:pt x="0" y="50483"/>
                    <a:pt x="0" y="112395"/>
                  </a:cubicBezTo>
                  <a:cubicBezTo>
                    <a:pt x="0" y="174308"/>
                    <a:pt x="50483" y="224790"/>
                    <a:pt x="112395" y="224790"/>
                  </a:cubicBezTo>
                  <a:cubicBezTo>
                    <a:pt x="174308" y="224790"/>
                    <a:pt x="224790" y="174308"/>
                    <a:pt x="224790" y="112395"/>
                  </a:cubicBezTo>
                  <a:cubicBezTo>
                    <a:pt x="224790" y="50483"/>
                    <a:pt x="174308" y="0"/>
                    <a:pt x="112395" y="0"/>
                  </a:cubicBezTo>
                  <a:close/>
                  <a:moveTo>
                    <a:pt x="112395" y="200977"/>
                  </a:moveTo>
                  <a:cubicBezTo>
                    <a:pt x="63817" y="200977"/>
                    <a:pt x="23813" y="160973"/>
                    <a:pt x="23813" y="112395"/>
                  </a:cubicBezTo>
                  <a:cubicBezTo>
                    <a:pt x="23813" y="63818"/>
                    <a:pt x="63817" y="23813"/>
                    <a:pt x="112395" y="23813"/>
                  </a:cubicBezTo>
                  <a:cubicBezTo>
                    <a:pt x="160972" y="23813"/>
                    <a:pt x="200978" y="63818"/>
                    <a:pt x="200978" y="112395"/>
                  </a:cubicBezTo>
                  <a:cubicBezTo>
                    <a:pt x="200978" y="160973"/>
                    <a:pt x="161925" y="200977"/>
                    <a:pt x="112395" y="200977"/>
                  </a:cubicBezTo>
                  <a:close/>
                </a:path>
              </a:pathLst>
            </a:custGeom>
            <a:grpFill/>
            <a:ln w="9525" cap="flat">
              <a:noFill/>
              <a:prstDash val="solid"/>
              <a:miter/>
            </a:ln>
          </p:spPr>
          <p:txBody>
            <a:bodyPr rtlCol="0" anchor="ctr"/>
            <a:lstStyle/>
            <a:p>
              <a:endParaRPr lang="en-US"/>
            </a:p>
          </p:txBody>
        </p:sp>
        <p:sp>
          <p:nvSpPr>
            <p:cNvPr id="16" name="Freeform 650">
              <a:extLst>
                <a:ext uri="{FF2B5EF4-FFF2-40B4-BE49-F238E27FC236}">
                  <a16:creationId xmlns:a16="http://schemas.microsoft.com/office/drawing/2014/main" id="{45F7900C-B94A-CFBE-AFC3-C8CD431DAEB2}"/>
                </a:ext>
              </a:extLst>
            </p:cNvPr>
            <p:cNvSpPr/>
            <p:nvPr/>
          </p:nvSpPr>
          <p:spPr>
            <a:xfrm>
              <a:off x="10779102" y="1442911"/>
              <a:ext cx="149859" cy="149859"/>
            </a:xfrm>
            <a:custGeom>
              <a:avLst/>
              <a:gdLst>
                <a:gd name="connsiteX0" fmla="*/ 112395 w 224789"/>
                <a:gd name="connsiteY0" fmla="*/ 0 h 224789"/>
                <a:gd name="connsiteX1" fmla="*/ 0 w 224789"/>
                <a:gd name="connsiteY1" fmla="*/ 112395 h 224789"/>
                <a:gd name="connsiteX2" fmla="*/ 112395 w 224789"/>
                <a:gd name="connsiteY2" fmla="*/ 224790 h 224789"/>
                <a:gd name="connsiteX3" fmla="*/ 224790 w 224789"/>
                <a:gd name="connsiteY3" fmla="*/ 112395 h 224789"/>
                <a:gd name="connsiteX4" fmla="*/ 112395 w 224789"/>
                <a:gd name="connsiteY4" fmla="*/ 0 h 224789"/>
                <a:gd name="connsiteX5" fmla="*/ 112395 w 224789"/>
                <a:gd name="connsiteY5" fmla="*/ 200977 h 224789"/>
                <a:gd name="connsiteX6" fmla="*/ 23813 w 224789"/>
                <a:gd name="connsiteY6" fmla="*/ 112395 h 224789"/>
                <a:gd name="connsiteX7" fmla="*/ 112395 w 224789"/>
                <a:gd name="connsiteY7" fmla="*/ 23813 h 224789"/>
                <a:gd name="connsiteX8" fmla="*/ 200977 w 224789"/>
                <a:gd name="connsiteY8" fmla="*/ 112395 h 224789"/>
                <a:gd name="connsiteX9" fmla="*/ 112395 w 224789"/>
                <a:gd name="connsiteY9" fmla="*/ 200977 h 22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789" h="224789">
                  <a:moveTo>
                    <a:pt x="112395" y="0"/>
                  </a:moveTo>
                  <a:cubicBezTo>
                    <a:pt x="50482" y="0"/>
                    <a:pt x="0" y="50483"/>
                    <a:pt x="0" y="112395"/>
                  </a:cubicBezTo>
                  <a:cubicBezTo>
                    <a:pt x="0" y="174308"/>
                    <a:pt x="50482" y="224790"/>
                    <a:pt x="112395" y="224790"/>
                  </a:cubicBezTo>
                  <a:cubicBezTo>
                    <a:pt x="174308" y="224790"/>
                    <a:pt x="224790" y="174308"/>
                    <a:pt x="224790" y="112395"/>
                  </a:cubicBezTo>
                  <a:cubicBezTo>
                    <a:pt x="224790" y="50483"/>
                    <a:pt x="174308" y="0"/>
                    <a:pt x="112395" y="0"/>
                  </a:cubicBezTo>
                  <a:close/>
                  <a:moveTo>
                    <a:pt x="112395" y="200977"/>
                  </a:moveTo>
                  <a:cubicBezTo>
                    <a:pt x="63817" y="200977"/>
                    <a:pt x="23813" y="160973"/>
                    <a:pt x="23813" y="112395"/>
                  </a:cubicBezTo>
                  <a:cubicBezTo>
                    <a:pt x="23813" y="63818"/>
                    <a:pt x="63817" y="23813"/>
                    <a:pt x="112395" y="23813"/>
                  </a:cubicBezTo>
                  <a:cubicBezTo>
                    <a:pt x="160972" y="23813"/>
                    <a:pt x="200977" y="63818"/>
                    <a:pt x="200977" y="112395"/>
                  </a:cubicBezTo>
                  <a:cubicBezTo>
                    <a:pt x="200977" y="160973"/>
                    <a:pt x="160972" y="200977"/>
                    <a:pt x="112395" y="200977"/>
                  </a:cubicBezTo>
                  <a:close/>
                </a:path>
              </a:pathLst>
            </a:custGeom>
            <a:grpFill/>
            <a:ln w="9525" cap="flat">
              <a:noFill/>
              <a:prstDash val="solid"/>
              <a:miter/>
            </a:ln>
          </p:spPr>
          <p:txBody>
            <a:bodyPr rtlCol="0" anchor="ctr"/>
            <a:lstStyle/>
            <a:p>
              <a:endParaRPr lang="en-US"/>
            </a:p>
          </p:txBody>
        </p:sp>
        <p:sp>
          <p:nvSpPr>
            <p:cNvPr id="17" name="Freeform 651">
              <a:extLst>
                <a:ext uri="{FF2B5EF4-FFF2-40B4-BE49-F238E27FC236}">
                  <a16:creationId xmlns:a16="http://schemas.microsoft.com/office/drawing/2014/main" id="{057AA869-66A8-CB64-BAD5-F4AE6B16FB80}"/>
                </a:ext>
              </a:extLst>
            </p:cNvPr>
            <p:cNvSpPr/>
            <p:nvPr/>
          </p:nvSpPr>
          <p:spPr>
            <a:xfrm>
              <a:off x="10751162" y="1621982"/>
              <a:ext cx="634371" cy="257809"/>
            </a:xfrm>
            <a:custGeom>
              <a:avLst/>
              <a:gdLst>
                <a:gd name="connsiteX0" fmla="*/ 798195 w 951556"/>
                <a:gd name="connsiteY0" fmla="*/ 0 h 386714"/>
                <a:gd name="connsiteX1" fmla="*/ 684848 w 951556"/>
                <a:gd name="connsiteY1" fmla="*/ 52388 h 386714"/>
                <a:gd name="connsiteX2" fmla="*/ 592455 w 951556"/>
                <a:gd name="connsiteY2" fmla="*/ 118110 h 386714"/>
                <a:gd name="connsiteX3" fmla="*/ 491490 w 951556"/>
                <a:gd name="connsiteY3" fmla="*/ 96202 h 386714"/>
                <a:gd name="connsiteX4" fmla="*/ 491490 w 951556"/>
                <a:gd name="connsiteY4" fmla="*/ 96202 h 386714"/>
                <a:gd name="connsiteX5" fmla="*/ 476250 w 951556"/>
                <a:gd name="connsiteY5" fmla="*/ 94297 h 386714"/>
                <a:gd name="connsiteX6" fmla="*/ 461010 w 951556"/>
                <a:gd name="connsiteY6" fmla="*/ 96202 h 386714"/>
                <a:gd name="connsiteX7" fmla="*/ 461010 w 951556"/>
                <a:gd name="connsiteY7" fmla="*/ 96202 h 386714"/>
                <a:gd name="connsiteX8" fmla="*/ 360045 w 951556"/>
                <a:gd name="connsiteY8" fmla="*/ 118110 h 386714"/>
                <a:gd name="connsiteX9" fmla="*/ 267653 w 951556"/>
                <a:gd name="connsiteY9" fmla="*/ 52388 h 386714"/>
                <a:gd name="connsiteX10" fmla="*/ 154305 w 951556"/>
                <a:gd name="connsiteY10" fmla="*/ 0 h 386714"/>
                <a:gd name="connsiteX11" fmla="*/ 0 w 951556"/>
                <a:gd name="connsiteY11" fmla="*/ 157163 h 386714"/>
                <a:gd name="connsiteX12" fmla="*/ 0 w 951556"/>
                <a:gd name="connsiteY12" fmla="*/ 373380 h 386714"/>
                <a:gd name="connsiteX13" fmla="*/ 13335 w 951556"/>
                <a:gd name="connsiteY13" fmla="*/ 386715 h 386714"/>
                <a:gd name="connsiteX14" fmla="*/ 295275 w 951556"/>
                <a:gd name="connsiteY14" fmla="*/ 386715 h 386714"/>
                <a:gd name="connsiteX15" fmla="*/ 308610 w 951556"/>
                <a:gd name="connsiteY15" fmla="*/ 373380 h 386714"/>
                <a:gd name="connsiteX16" fmla="*/ 308610 w 951556"/>
                <a:gd name="connsiteY16" fmla="*/ 220980 h 386714"/>
                <a:gd name="connsiteX17" fmla="*/ 350520 w 951556"/>
                <a:gd name="connsiteY17" fmla="*/ 250507 h 386714"/>
                <a:gd name="connsiteX18" fmla="*/ 361950 w 951556"/>
                <a:gd name="connsiteY18" fmla="*/ 253365 h 386714"/>
                <a:gd name="connsiteX19" fmla="*/ 476250 w 951556"/>
                <a:gd name="connsiteY19" fmla="*/ 229552 h 386714"/>
                <a:gd name="connsiteX20" fmla="*/ 590550 w 951556"/>
                <a:gd name="connsiteY20" fmla="*/ 253365 h 386714"/>
                <a:gd name="connsiteX21" fmla="*/ 601980 w 951556"/>
                <a:gd name="connsiteY21" fmla="*/ 250507 h 386714"/>
                <a:gd name="connsiteX22" fmla="*/ 643890 w 951556"/>
                <a:gd name="connsiteY22" fmla="*/ 220980 h 386714"/>
                <a:gd name="connsiteX23" fmla="*/ 643890 w 951556"/>
                <a:gd name="connsiteY23" fmla="*/ 373380 h 386714"/>
                <a:gd name="connsiteX24" fmla="*/ 657225 w 951556"/>
                <a:gd name="connsiteY24" fmla="*/ 386715 h 386714"/>
                <a:gd name="connsiteX25" fmla="*/ 938213 w 951556"/>
                <a:gd name="connsiteY25" fmla="*/ 386715 h 386714"/>
                <a:gd name="connsiteX26" fmla="*/ 951547 w 951556"/>
                <a:gd name="connsiteY26" fmla="*/ 373380 h 386714"/>
                <a:gd name="connsiteX27" fmla="*/ 951547 w 951556"/>
                <a:gd name="connsiteY27" fmla="*/ 157163 h 386714"/>
                <a:gd name="connsiteX28" fmla="*/ 798195 w 951556"/>
                <a:gd name="connsiteY28" fmla="*/ 0 h 386714"/>
                <a:gd name="connsiteX29" fmla="*/ 284798 w 951556"/>
                <a:gd name="connsiteY29" fmla="*/ 363855 h 386714"/>
                <a:gd name="connsiteX30" fmla="*/ 23813 w 951556"/>
                <a:gd name="connsiteY30" fmla="*/ 363855 h 386714"/>
                <a:gd name="connsiteX31" fmla="*/ 23813 w 951556"/>
                <a:gd name="connsiteY31" fmla="*/ 161925 h 386714"/>
                <a:gd name="connsiteX32" fmla="*/ 154305 w 951556"/>
                <a:gd name="connsiteY32" fmla="*/ 23813 h 386714"/>
                <a:gd name="connsiteX33" fmla="*/ 284798 w 951556"/>
                <a:gd name="connsiteY33" fmla="*/ 161925 h 386714"/>
                <a:gd name="connsiteX34" fmla="*/ 284798 w 951556"/>
                <a:gd name="connsiteY34" fmla="*/ 363855 h 386714"/>
                <a:gd name="connsiteX35" fmla="*/ 360045 w 951556"/>
                <a:gd name="connsiteY35" fmla="*/ 230505 h 386714"/>
                <a:gd name="connsiteX36" fmla="*/ 307658 w 951556"/>
                <a:gd name="connsiteY36" fmla="*/ 193357 h 386714"/>
                <a:gd name="connsiteX37" fmla="*/ 307658 w 951556"/>
                <a:gd name="connsiteY37" fmla="*/ 156210 h 386714"/>
                <a:gd name="connsiteX38" fmla="*/ 297180 w 951556"/>
                <a:gd name="connsiteY38" fmla="*/ 100013 h 386714"/>
                <a:gd name="connsiteX39" fmla="*/ 349567 w 951556"/>
                <a:gd name="connsiteY39" fmla="*/ 137160 h 386714"/>
                <a:gd name="connsiteX40" fmla="*/ 361950 w 951556"/>
                <a:gd name="connsiteY40" fmla="*/ 140017 h 386714"/>
                <a:gd name="connsiteX41" fmla="*/ 417195 w 951556"/>
                <a:gd name="connsiteY41" fmla="*/ 127635 h 386714"/>
                <a:gd name="connsiteX42" fmla="*/ 407670 w 951556"/>
                <a:gd name="connsiteY42" fmla="*/ 161925 h 386714"/>
                <a:gd name="connsiteX43" fmla="*/ 434340 w 951556"/>
                <a:gd name="connsiteY43" fmla="*/ 216217 h 386714"/>
                <a:gd name="connsiteX44" fmla="*/ 360045 w 951556"/>
                <a:gd name="connsiteY44" fmla="*/ 230505 h 386714"/>
                <a:gd name="connsiteX45" fmla="*/ 476250 w 951556"/>
                <a:gd name="connsiteY45" fmla="*/ 207645 h 386714"/>
                <a:gd name="connsiteX46" fmla="*/ 430530 w 951556"/>
                <a:gd name="connsiteY46" fmla="*/ 161925 h 386714"/>
                <a:gd name="connsiteX47" fmla="*/ 476250 w 951556"/>
                <a:gd name="connsiteY47" fmla="*/ 116205 h 386714"/>
                <a:gd name="connsiteX48" fmla="*/ 521970 w 951556"/>
                <a:gd name="connsiteY48" fmla="*/ 161925 h 386714"/>
                <a:gd name="connsiteX49" fmla="*/ 476250 w 951556"/>
                <a:gd name="connsiteY49" fmla="*/ 207645 h 386714"/>
                <a:gd name="connsiteX50" fmla="*/ 592455 w 951556"/>
                <a:gd name="connsiteY50" fmla="*/ 230505 h 386714"/>
                <a:gd name="connsiteX51" fmla="*/ 518160 w 951556"/>
                <a:gd name="connsiteY51" fmla="*/ 215265 h 386714"/>
                <a:gd name="connsiteX52" fmla="*/ 544830 w 951556"/>
                <a:gd name="connsiteY52" fmla="*/ 160972 h 386714"/>
                <a:gd name="connsiteX53" fmla="*/ 535305 w 951556"/>
                <a:gd name="connsiteY53" fmla="*/ 126682 h 386714"/>
                <a:gd name="connsiteX54" fmla="*/ 590550 w 951556"/>
                <a:gd name="connsiteY54" fmla="*/ 139065 h 386714"/>
                <a:gd name="connsiteX55" fmla="*/ 602933 w 951556"/>
                <a:gd name="connsiteY55" fmla="*/ 136207 h 386714"/>
                <a:gd name="connsiteX56" fmla="*/ 655320 w 951556"/>
                <a:gd name="connsiteY56" fmla="*/ 99060 h 386714"/>
                <a:gd name="connsiteX57" fmla="*/ 644843 w 951556"/>
                <a:gd name="connsiteY57" fmla="*/ 155257 h 386714"/>
                <a:gd name="connsiteX58" fmla="*/ 644843 w 951556"/>
                <a:gd name="connsiteY58" fmla="*/ 192405 h 386714"/>
                <a:gd name="connsiteX59" fmla="*/ 592455 w 951556"/>
                <a:gd name="connsiteY59" fmla="*/ 230505 h 386714"/>
                <a:gd name="connsiteX60" fmla="*/ 928688 w 951556"/>
                <a:gd name="connsiteY60" fmla="*/ 363855 h 386714"/>
                <a:gd name="connsiteX61" fmla="*/ 666750 w 951556"/>
                <a:gd name="connsiteY61" fmla="*/ 363855 h 386714"/>
                <a:gd name="connsiteX62" fmla="*/ 666750 w 951556"/>
                <a:gd name="connsiteY62" fmla="*/ 161925 h 386714"/>
                <a:gd name="connsiteX63" fmla="*/ 797243 w 951556"/>
                <a:gd name="connsiteY63" fmla="*/ 23813 h 386714"/>
                <a:gd name="connsiteX64" fmla="*/ 927735 w 951556"/>
                <a:gd name="connsiteY64" fmla="*/ 161925 h 386714"/>
                <a:gd name="connsiteX65" fmla="*/ 927735 w 951556"/>
                <a:gd name="connsiteY65" fmla="*/ 363855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951556" h="386714">
                  <a:moveTo>
                    <a:pt x="798195" y="0"/>
                  </a:moveTo>
                  <a:cubicBezTo>
                    <a:pt x="753428" y="0"/>
                    <a:pt x="712470" y="20002"/>
                    <a:pt x="684848" y="52388"/>
                  </a:cubicBezTo>
                  <a:lnTo>
                    <a:pt x="592455" y="118110"/>
                  </a:lnTo>
                  <a:lnTo>
                    <a:pt x="491490" y="96202"/>
                  </a:lnTo>
                  <a:lnTo>
                    <a:pt x="491490" y="96202"/>
                  </a:lnTo>
                  <a:cubicBezTo>
                    <a:pt x="486728" y="95250"/>
                    <a:pt x="481965" y="94297"/>
                    <a:pt x="476250" y="94297"/>
                  </a:cubicBezTo>
                  <a:cubicBezTo>
                    <a:pt x="470535" y="94297"/>
                    <a:pt x="465773" y="95250"/>
                    <a:pt x="461010" y="96202"/>
                  </a:cubicBezTo>
                  <a:lnTo>
                    <a:pt x="461010" y="96202"/>
                  </a:lnTo>
                  <a:lnTo>
                    <a:pt x="360045" y="118110"/>
                  </a:lnTo>
                  <a:lnTo>
                    <a:pt x="267653" y="52388"/>
                  </a:lnTo>
                  <a:cubicBezTo>
                    <a:pt x="239077" y="20002"/>
                    <a:pt x="198120" y="0"/>
                    <a:pt x="154305" y="0"/>
                  </a:cubicBezTo>
                  <a:cubicBezTo>
                    <a:pt x="70485" y="0"/>
                    <a:pt x="0" y="70485"/>
                    <a:pt x="0" y="157163"/>
                  </a:cubicBezTo>
                  <a:lnTo>
                    <a:pt x="0" y="373380"/>
                  </a:lnTo>
                  <a:cubicBezTo>
                    <a:pt x="0" y="381000"/>
                    <a:pt x="5715" y="386715"/>
                    <a:pt x="13335" y="386715"/>
                  </a:cubicBezTo>
                  <a:lnTo>
                    <a:pt x="295275" y="386715"/>
                  </a:lnTo>
                  <a:cubicBezTo>
                    <a:pt x="302895" y="386715"/>
                    <a:pt x="308610" y="381000"/>
                    <a:pt x="308610" y="373380"/>
                  </a:cubicBezTo>
                  <a:lnTo>
                    <a:pt x="308610" y="220980"/>
                  </a:lnTo>
                  <a:lnTo>
                    <a:pt x="350520" y="250507"/>
                  </a:lnTo>
                  <a:cubicBezTo>
                    <a:pt x="354330" y="253365"/>
                    <a:pt x="358140" y="253365"/>
                    <a:pt x="361950" y="253365"/>
                  </a:cubicBezTo>
                  <a:lnTo>
                    <a:pt x="476250" y="229552"/>
                  </a:lnTo>
                  <a:lnTo>
                    <a:pt x="590550" y="253365"/>
                  </a:lnTo>
                  <a:cubicBezTo>
                    <a:pt x="594360" y="254317"/>
                    <a:pt x="599123" y="253365"/>
                    <a:pt x="601980" y="250507"/>
                  </a:cubicBezTo>
                  <a:lnTo>
                    <a:pt x="643890" y="220980"/>
                  </a:lnTo>
                  <a:lnTo>
                    <a:pt x="643890" y="373380"/>
                  </a:lnTo>
                  <a:cubicBezTo>
                    <a:pt x="643890" y="381000"/>
                    <a:pt x="649605" y="386715"/>
                    <a:pt x="657225" y="386715"/>
                  </a:cubicBezTo>
                  <a:lnTo>
                    <a:pt x="938213" y="386715"/>
                  </a:lnTo>
                  <a:cubicBezTo>
                    <a:pt x="945833" y="386715"/>
                    <a:pt x="951547" y="381000"/>
                    <a:pt x="951547" y="373380"/>
                  </a:cubicBezTo>
                  <a:lnTo>
                    <a:pt x="951547" y="157163"/>
                  </a:lnTo>
                  <a:cubicBezTo>
                    <a:pt x="952500" y="70485"/>
                    <a:pt x="882015" y="0"/>
                    <a:pt x="798195" y="0"/>
                  </a:cubicBezTo>
                  <a:close/>
                  <a:moveTo>
                    <a:pt x="284798" y="363855"/>
                  </a:moveTo>
                  <a:lnTo>
                    <a:pt x="23813" y="363855"/>
                  </a:lnTo>
                  <a:lnTo>
                    <a:pt x="23813" y="161925"/>
                  </a:lnTo>
                  <a:cubicBezTo>
                    <a:pt x="23813" y="85725"/>
                    <a:pt x="83820" y="23813"/>
                    <a:pt x="154305" y="23813"/>
                  </a:cubicBezTo>
                  <a:cubicBezTo>
                    <a:pt x="224790" y="23813"/>
                    <a:pt x="284798" y="85725"/>
                    <a:pt x="284798" y="161925"/>
                  </a:cubicBezTo>
                  <a:lnTo>
                    <a:pt x="284798" y="363855"/>
                  </a:lnTo>
                  <a:close/>
                  <a:moveTo>
                    <a:pt x="360045" y="230505"/>
                  </a:moveTo>
                  <a:lnTo>
                    <a:pt x="307658" y="193357"/>
                  </a:lnTo>
                  <a:lnTo>
                    <a:pt x="307658" y="156210"/>
                  </a:lnTo>
                  <a:cubicBezTo>
                    <a:pt x="307658" y="136207"/>
                    <a:pt x="303848" y="117157"/>
                    <a:pt x="297180" y="100013"/>
                  </a:cubicBezTo>
                  <a:lnTo>
                    <a:pt x="349567" y="137160"/>
                  </a:lnTo>
                  <a:cubicBezTo>
                    <a:pt x="353378" y="140017"/>
                    <a:pt x="357188" y="140970"/>
                    <a:pt x="361950" y="140017"/>
                  </a:cubicBezTo>
                  <a:lnTo>
                    <a:pt x="417195" y="127635"/>
                  </a:lnTo>
                  <a:cubicBezTo>
                    <a:pt x="411480" y="138113"/>
                    <a:pt x="407670" y="149542"/>
                    <a:pt x="407670" y="161925"/>
                  </a:cubicBezTo>
                  <a:cubicBezTo>
                    <a:pt x="407670" y="183832"/>
                    <a:pt x="418148" y="202882"/>
                    <a:pt x="434340" y="216217"/>
                  </a:cubicBezTo>
                  <a:lnTo>
                    <a:pt x="360045" y="230505"/>
                  </a:lnTo>
                  <a:close/>
                  <a:moveTo>
                    <a:pt x="476250" y="207645"/>
                  </a:moveTo>
                  <a:cubicBezTo>
                    <a:pt x="451485" y="207645"/>
                    <a:pt x="430530" y="187642"/>
                    <a:pt x="430530" y="161925"/>
                  </a:cubicBezTo>
                  <a:cubicBezTo>
                    <a:pt x="430530" y="136207"/>
                    <a:pt x="451485" y="116205"/>
                    <a:pt x="476250" y="116205"/>
                  </a:cubicBezTo>
                  <a:cubicBezTo>
                    <a:pt x="501015" y="116205"/>
                    <a:pt x="521970" y="136207"/>
                    <a:pt x="521970" y="161925"/>
                  </a:cubicBezTo>
                  <a:cubicBezTo>
                    <a:pt x="521970" y="187642"/>
                    <a:pt x="501015" y="207645"/>
                    <a:pt x="476250" y="207645"/>
                  </a:cubicBezTo>
                  <a:close/>
                  <a:moveTo>
                    <a:pt x="592455" y="230505"/>
                  </a:moveTo>
                  <a:lnTo>
                    <a:pt x="518160" y="215265"/>
                  </a:lnTo>
                  <a:cubicBezTo>
                    <a:pt x="534353" y="202882"/>
                    <a:pt x="544830" y="182880"/>
                    <a:pt x="544830" y="160972"/>
                  </a:cubicBezTo>
                  <a:cubicBezTo>
                    <a:pt x="544830" y="148590"/>
                    <a:pt x="541020" y="137160"/>
                    <a:pt x="535305" y="126682"/>
                  </a:cubicBezTo>
                  <a:lnTo>
                    <a:pt x="590550" y="139065"/>
                  </a:lnTo>
                  <a:cubicBezTo>
                    <a:pt x="594360" y="140017"/>
                    <a:pt x="599123" y="139065"/>
                    <a:pt x="602933" y="136207"/>
                  </a:cubicBezTo>
                  <a:lnTo>
                    <a:pt x="655320" y="99060"/>
                  </a:lnTo>
                  <a:cubicBezTo>
                    <a:pt x="648653" y="116205"/>
                    <a:pt x="644843" y="135255"/>
                    <a:pt x="644843" y="155257"/>
                  </a:cubicBezTo>
                  <a:lnTo>
                    <a:pt x="644843" y="192405"/>
                  </a:lnTo>
                  <a:lnTo>
                    <a:pt x="592455" y="230505"/>
                  </a:lnTo>
                  <a:close/>
                  <a:moveTo>
                    <a:pt x="928688" y="363855"/>
                  </a:moveTo>
                  <a:lnTo>
                    <a:pt x="666750" y="363855"/>
                  </a:lnTo>
                  <a:lnTo>
                    <a:pt x="666750" y="161925"/>
                  </a:lnTo>
                  <a:cubicBezTo>
                    <a:pt x="666750" y="85725"/>
                    <a:pt x="726758" y="23813"/>
                    <a:pt x="797243" y="23813"/>
                  </a:cubicBezTo>
                  <a:cubicBezTo>
                    <a:pt x="867728" y="23813"/>
                    <a:pt x="927735" y="85725"/>
                    <a:pt x="927735" y="161925"/>
                  </a:cubicBezTo>
                  <a:lnTo>
                    <a:pt x="927735" y="363855"/>
                  </a:lnTo>
                  <a:close/>
                </a:path>
              </a:pathLst>
            </a:custGeom>
            <a:grpFill/>
            <a:ln w="9525" cap="flat">
              <a:noFill/>
              <a:prstDash val="solid"/>
              <a:miter/>
            </a:ln>
          </p:spPr>
          <p:txBody>
            <a:bodyPr rtlCol="0" anchor="ctr"/>
            <a:lstStyle/>
            <a:p>
              <a:endParaRPr lang="en-US"/>
            </a:p>
          </p:txBody>
        </p:sp>
      </p:grpSp>
      <p:grpSp>
        <p:nvGrpSpPr>
          <p:cNvPr id="18" name="Group 17">
            <a:extLst>
              <a:ext uri="{FF2B5EF4-FFF2-40B4-BE49-F238E27FC236}">
                <a16:creationId xmlns:a16="http://schemas.microsoft.com/office/drawing/2014/main" id="{2A1B15F1-F8D3-54D1-708C-BC1D543390B5}"/>
              </a:ext>
            </a:extLst>
          </p:cNvPr>
          <p:cNvGrpSpPr/>
          <p:nvPr/>
        </p:nvGrpSpPr>
        <p:grpSpPr>
          <a:xfrm>
            <a:off x="5923717" y="1738715"/>
            <a:ext cx="914400" cy="914400"/>
            <a:chOff x="8953423" y="5133273"/>
            <a:chExt cx="914400" cy="914400"/>
          </a:xfrm>
        </p:grpSpPr>
        <p:sp>
          <p:nvSpPr>
            <p:cNvPr id="19" name="Oval 18">
              <a:extLst>
                <a:ext uri="{FF2B5EF4-FFF2-40B4-BE49-F238E27FC236}">
                  <a16:creationId xmlns:a16="http://schemas.microsoft.com/office/drawing/2014/main" id="{04E0058B-AA91-0DC7-7D2C-DC2D16AC849B}"/>
                </a:ext>
              </a:extLst>
            </p:cNvPr>
            <p:cNvSpPr/>
            <p:nvPr/>
          </p:nvSpPr>
          <p:spPr>
            <a:xfrm>
              <a:off x="8953423" y="5133273"/>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aphic 512">
              <a:extLst>
                <a:ext uri="{FF2B5EF4-FFF2-40B4-BE49-F238E27FC236}">
                  <a16:creationId xmlns:a16="http://schemas.microsoft.com/office/drawing/2014/main" id="{E7D0D7BA-45C6-1296-E8A4-EF54FCDCF231}"/>
                </a:ext>
              </a:extLst>
            </p:cNvPr>
            <p:cNvGrpSpPr/>
            <p:nvPr/>
          </p:nvGrpSpPr>
          <p:grpSpPr>
            <a:xfrm>
              <a:off x="9133756" y="5335437"/>
              <a:ext cx="547672" cy="557520"/>
              <a:chOff x="5686044" y="3055619"/>
              <a:chExt cx="819651" cy="834390"/>
            </a:xfrm>
            <a:solidFill>
              <a:schemeClr val="bg1"/>
            </a:solidFill>
          </p:grpSpPr>
          <p:sp>
            <p:nvSpPr>
              <p:cNvPr id="21" name="Freeform 531">
                <a:extLst>
                  <a:ext uri="{FF2B5EF4-FFF2-40B4-BE49-F238E27FC236}">
                    <a16:creationId xmlns:a16="http://schemas.microsoft.com/office/drawing/2014/main" id="{BBA3DFC6-5705-12C7-6AD9-8A4C7C92DC5C}"/>
                  </a:ext>
                </a:extLst>
              </p:cNvPr>
              <p:cNvSpPr/>
              <p:nvPr/>
            </p:nvSpPr>
            <p:spPr>
              <a:xfrm>
                <a:off x="6259829" y="3283267"/>
                <a:ext cx="78105" cy="79057"/>
              </a:xfrm>
              <a:custGeom>
                <a:avLst/>
                <a:gdLst>
                  <a:gd name="connsiteX0" fmla="*/ 65723 w 78105"/>
                  <a:gd name="connsiteY0" fmla="*/ 79058 h 79057"/>
                  <a:gd name="connsiteX1" fmla="*/ 74295 w 78105"/>
                  <a:gd name="connsiteY1" fmla="*/ 75248 h 79057"/>
                  <a:gd name="connsiteX2" fmla="*/ 78105 w 78105"/>
                  <a:gd name="connsiteY2" fmla="*/ 66675 h 79057"/>
                  <a:gd name="connsiteX3" fmla="*/ 78105 w 78105"/>
                  <a:gd name="connsiteY3" fmla="*/ 12383 h 79057"/>
                  <a:gd name="connsiteX4" fmla="*/ 74295 w 78105"/>
                  <a:gd name="connsiteY4" fmla="*/ 3810 h 79057"/>
                  <a:gd name="connsiteX5" fmla="*/ 65723 w 78105"/>
                  <a:gd name="connsiteY5" fmla="*/ 0 h 79057"/>
                  <a:gd name="connsiteX6" fmla="*/ 11430 w 78105"/>
                  <a:gd name="connsiteY6" fmla="*/ 0 h 79057"/>
                  <a:gd name="connsiteX7" fmla="*/ 0 w 78105"/>
                  <a:gd name="connsiteY7" fmla="*/ 11430 h 79057"/>
                  <a:gd name="connsiteX8" fmla="*/ 0 w 78105"/>
                  <a:gd name="connsiteY8" fmla="*/ 65723 h 79057"/>
                  <a:gd name="connsiteX9" fmla="*/ 3810 w 78105"/>
                  <a:gd name="connsiteY9" fmla="*/ 74295 h 79057"/>
                  <a:gd name="connsiteX10" fmla="*/ 12383 w 78105"/>
                  <a:gd name="connsiteY10" fmla="*/ 78105 h 79057"/>
                  <a:gd name="connsiteX11" fmla="*/ 65723 w 78105"/>
                  <a:gd name="connsiteY11" fmla="*/ 78105 h 79057"/>
                  <a:gd name="connsiteX12" fmla="*/ 23813 w 78105"/>
                  <a:gd name="connsiteY12" fmla="*/ 24765 h 79057"/>
                  <a:gd name="connsiteX13" fmla="*/ 54293 w 78105"/>
                  <a:gd name="connsiteY13" fmla="*/ 24765 h 79057"/>
                  <a:gd name="connsiteX14" fmla="*/ 54293 w 78105"/>
                  <a:gd name="connsiteY14" fmla="*/ 55245 h 79057"/>
                  <a:gd name="connsiteX15" fmla="*/ 23813 w 78105"/>
                  <a:gd name="connsiteY15" fmla="*/ 55245 h 79057"/>
                  <a:gd name="connsiteX16" fmla="*/ 23813 w 78105"/>
                  <a:gd name="connsiteY16" fmla="*/ 24765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105" h="79057">
                    <a:moveTo>
                      <a:pt x="65723" y="79058"/>
                    </a:moveTo>
                    <a:cubicBezTo>
                      <a:pt x="68580" y="79058"/>
                      <a:pt x="71438" y="78105"/>
                      <a:pt x="74295" y="75248"/>
                    </a:cubicBezTo>
                    <a:cubicBezTo>
                      <a:pt x="76200" y="73343"/>
                      <a:pt x="78105" y="70485"/>
                      <a:pt x="78105" y="66675"/>
                    </a:cubicBezTo>
                    <a:lnTo>
                      <a:pt x="78105" y="12383"/>
                    </a:lnTo>
                    <a:cubicBezTo>
                      <a:pt x="78105" y="9525"/>
                      <a:pt x="77153" y="6668"/>
                      <a:pt x="74295" y="3810"/>
                    </a:cubicBezTo>
                    <a:cubicBezTo>
                      <a:pt x="72390" y="1905"/>
                      <a:pt x="69533" y="0"/>
                      <a:pt x="65723" y="0"/>
                    </a:cubicBezTo>
                    <a:lnTo>
                      <a:pt x="11430" y="0"/>
                    </a:lnTo>
                    <a:cubicBezTo>
                      <a:pt x="4763" y="0"/>
                      <a:pt x="0" y="4763"/>
                      <a:pt x="0" y="11430"/>
                    </a:cubicBezTo>
                    <a:lnTo>
                      <a:pt x="0" y="65723"/>
                    </a:lnTo>
                    <a:cubicBezTo>
                      <a:pt x="0" y="68580"/>
                      <a:pt x="953" y="71438"/>
                      <a:pt x="3810" y="74295"/>
                    </a:cubicBezTo>
                    <a:cubicBezTo>
                      <a:pt x="5715" y="76200"/>
                      <a:pt x="8573" y="78105"/>
                      <a:pt x="12383" y="78105"/>
                    </a:cubicBezTo>
                    <a:lnTo>
                      <a:pt x="65723" y="78105"/>
                    </a:lnTo>
                    <a:close/>
                    <a:moveTo>
                      <a:pt x="23813" y="24765"/>
                    </a:moveTo>
                    <a:lnTo>
                      <a:pt x="54293" y="24765"/>
                    </a:lnTo>
                    <a:lnTo>
                      <a:pt x="54293" y="55245"/>
                    </a:lnTo>
                    <a:lnTo>
                      <a:pt x="23813" y="55245"/>
                    </a:lnTo>
                    <a:lnTo>
                      <a:pt x="23813" y="24765"/>
                    </a:lnTo>
                    <a:close/>
                  </a:path>
                </a:pathLst>
              </a:custGeom>
              <a:grpFill/>
              <a:ln w="9525" cap="flat">
                <a:noFill/>
                <a:prstDash val="solid"/>
                <a:miter/>
              </a:ln>
            </p:spPr>
            <p:txBody>
              <a:bodyPr rtlCol="0" anchor="ctr"/>
              <a:lstStyle/>
              <a:p>
                <a:endParaRPr lang="en-US"/>
              </a:p>
            </p:txBody>
          </p:sp>
          <p:sp>
            <p:nvSpPr>
              <p:cNvPr id="22" name="Freeform 532">
                <a:extLst>
                  <a:ext uri="{FF2B5EF4-FFF2-40B4-BE49-F238E27FC236}">
                    <a16:creationId xmlns:a16="http://schemas.microsoft.com/office/drawing/2014/main" id="{D9508026-2FF4-00E3-80CD-0410BCD8A3B5}"/>
                  </a:ext>
                </a:extLst>
              </p:cNvPr>
              <p:cNvSpPr/>
              <p:nvPr/>
            </p:nvSpPr>
            <p:spPr>
              <a:xfrm>
                <a:off x="6165532" y="3406139"/>
                <a:ext cx="79057" cy="79057"/>
              </a:xfrm>
              <a:custGeom>
                <a:avLst/>
                <a:gdLst>
                  <a:gd name="connsiteX0" fmla="*/ 0 w 79057"/>
                  <a:gd name="connsiteY0" fmla="*/ 12383 h 79057"/>
                  <a:gd name="connsiteX1" fmla="*/ 0 w 79057"/>
                  <a:gd name="connsiteY1" fmla="*/ 66675 h 79057"/>
                  <a:gd name="connsiteX2" fmla="*/ 3810 w 79057"/>
                  <a:gd name="connsiteY2" fmla="*/ 75248 h 79057"/>
                  <a:gd name="connsiteX3" fmla="*/ 12382 w 79057"/>
                  <a:gd name="connsiteY3" fmla="*/ 79058 h 79057"/>
                  <a:gd name="connsiteX4" fmla="*/ 66675 w 79057"/>
                  <a:gd name="connsiteY4" fmla="*/ 79058 h 79057"/>
                  <a:gd name="connsiteX5" fmla="*/ 75247 w 79057"/>
                  <a:gd name="connsiteY5" fmla="*/ 75248 h 79057"/>
                  <a:gd name="connsiteX6" fmla="*/ 79057 w 79057"/>
                  <a:gd name="connsiteY6" fmla="*/ 66675 h 79057"/>
                  <a:gd name="connsiteX7" fmla="*/ 79057 w 79057"/>
                  <a:gd name="connsiteY7" fmla="*/ 12383 h 79057"/>
                  <a:gd name="connsiteX8" fmla="*/ 75247 w 79057"/>
                  <a:gd name="connsiteY8" fmla="*/ 3810 h 79057"/>
                  <a:gd name="connsiteX9" fmla="*/ 66675 w 79057"/>
                  <a:gd name="connsiteY9" fmla="*/ 0 h 79057"/>
                  <a:gd name="connsiteX10" fmla="*/ 12382 w 79057"/>
                  <a:gd name="connsiteY10" fmla="*/ 0 h 79057"/>
                  <a:gd name="connsiteX11" fmla="*/ 0 w 79057"/>
                  <a:gd name="connsiteY11" fmla="*/ 12383 h 79057"/>
                  <a:gd name="connsiteX12" fmla="*/ 22860 w 79057"/>
                  <a:gd name="connsiteY12" fmla="*/ 23813 h 79057"/>
                  <a:gd name="connsiteX13" fmla="*/ 53340 w 79057"/>
                  <a:gd name="connsiteY13" fmla="*/ 23813 h 79057"/>
                  <a:gd name="connsiteX14" fmla="*/ 53340 w 79057"/>
                  <a:gd name="connsiteY14" fmla="*/ 54293 h 79057"/>
                  <a:gd name="connsiteX15" fmla="*/ 22860 w 79057"/>
                  <a:gd name="connsiteY15" fmla="*/ 54293 h 79057"/>
                  <a:gd name="connsiteX16" fmla="*/ 22860 w 79057"/>
                  <a:gd name="connsiteY16" fmla="*/ 23813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57" h="79057">
                    <a:moveTo>
                      <a:pt x="0" y="12383"/>
                    </a:moveTo>
                    <a:lnTo>
                      <a:pt x="0" y="66675"/>
                    </a:lnTo>
                    <a:cubicBezTo>
                      <a:pt x="0" y="69533"/>
                      <a:pt x="952" y="72390"/>
                      <a:pt x="3810" y="75248"/>
                    </a:cubicBezTo>
                    <a:cubicBezTo>
                      <a:pt x="5715" y="77152"/>
                      <a:pt x="8572" y="79058"/>
                      <a:pt x="12382" y="79058"/>
                    </a:cubicBezTo>
                    <a:lnTo>
                      <a:pt x="66675" y="79058"/>
                    </a:lnTo>
                    <a:cubicBezTo>
                      <a:pt x="69532" y="79058"/>
                      <a:pt x="72390" y="78105"/>
                      <a:pt x="75247" y="75248"/>
                    </a:cubicBezTo>
                    <a:cubicBezTo>
                      <a:pt x="77152" y="73343"/>
                      <a:pt x="79057" y="70485"/>
                      <a:pt x="79057" y="66675"/>
                    </a:cubicBezTo>
                    <a:lnTo>
                      <a:pt x="79057" y="12383"/>
                    </a:lnTo>
                    <a:cubicBezTo>
                      <a:pt x="79057" y="9525"/>
                      <a:pt x="78105" y="6668"/>
                      <a:pt x="75247" y="3810"/>
                    </a:cubicBezTo>
                    <a:cubicBezTo>
                      <a:pt x="73342" y="1905"/>
                      <a:pt x="70485" y="0"/>
                      <a:pt x="66675" y="0"/>
                    </a:cubicBezTo>
                    <a:lnTo>
                      <a:pt x="12382" y="0"/>
                    </a:lnTo>
                    <a:cubicBezTo>
                      <a:pt x="4763" y="952"/>
                      <a:pt x="0" y="5715"/>
                      <a:pt x="0" y="12383"/>
                    </a:cubicBezTo>
                    <a:close/>
                    <a:moveTo>
                      <a:pt x="22860" y="23813"/>
                    </a:moveTo>
                    <a:lnTo>
                      <a:pt x="53340" y="23813"/>
                    </a:lnTo>
                    <a:lnTo>
                      <a:pt x="53340" y="54293"/>
                    </a:lnTo>
                    <a:lnTo>
                      <a:pt x="22860" y="54293"/>
                    </a:lnTo>
                    <a:lnTo>
                      <a:pt x="22860" y="23813"/>
                    </a:lnTo>
                    <a:close/>
                  </a:path>
                </a:pathLst>
              </a:custGeom>
              <a:grpFill/>
              <a:ln w="9525" cap="flat">
                <a:noFill/>
                <a:prstDash val="solid"/>
                <a:miter/>
              </a:ln>
            </p:spPr>
            <p:txBody>
              <a:bodyPr rtlCol="0" anchor="ctr"/>
              <a:lstStyle/>
              <a:p>
                <a:endParaRPr lang="en-US"/>
              </a:p>
            </p:txBody>
          </p:sp>
          <p:sp>
            <p:nvSpPr>
              <p:cNvPr id="23" name="Freeform 533">
                <a:extLst>
                  <a:ext uri="{FF2B5EF4-FFF2-40B4-BE49-F238E27FC236}">
                    <a16:creationId xmlns:a16="http://schemas.microsoft.com/office/drawing/2014/main" id="{E58CAB3F-9154-9A84-A896-5F154C067C3B}"/>
                  </a:ext>
                </a:extLst>
              </p:cNvPr>
              <p:cNvSpPr/>
              <p:nvPr/>
            </p:nvSpPr>
            <p:spPr>
              <a:xfrm>
                <a:off x="6233160" y="3123247"/>
                <a:ext cx="105727" cy="104775"/>
              </a:xfrm>
              <a:custGeom>
                <a:avLst/>
                <a:gdLst>
                  <a:gd name="connsiteX0" fmla="*/ 92392 w 105727"/>
                  <a:gd name="connsiteY0" fmla="*/ 0 h 104775"/>
                  <a:gd name="connsiteX1" fmla="*/ 11430 w 105727"/>
                  <a:gd name="connsiteY1" fmla="*/ 0 h 104775"/>
                  <a:gd name="connsiteX2" fmla="*/ 0 w 105727"/>
                  <a:gd name="connsiteY2" fmla="*/ 11430 h 104775"/>
                  <a:gd name="connsiteX3" fmla="*/ 0 w 105727"/>
                  <a:gd name="connsiteY3" fmla="*/ 92392 h 104775"/>
                  <a:gd name="connsiteX4" fmla="*/ 3810 w 105727"/>
                  <a:gd name="connsiteY4" fmla="*/ 100965 h 104775"/>
                  <a:gd name="connsiteX5" fmla="*/ 12382 w 105727"/>
                  <a:gd name="connsiteY5" fmla="*/ 104775 h 104775"/>
                  <a:gd name="connsiteX6" fmla="*/ 93345 w 105727"/>
                  <a:gd name="connsiteY6" fmla="*/ 104775 h 104775"/>
                  <a:gd name="connsiteX7" fmla="*/ 101917 w 105727"/>
                  <a:gd name="connsiteY7" fmla="*/ 100965 h 104775"/>
                  <a:gd name="connsiteX8" fmla="*/ 105727 w 105727"/>
                  <a:gd name="connsiteY8" fmla="*/ 92392 h 104775"/>
                  <a:gd name="connsiteX9" fmla="*/ 105727 w 105727"/>
                  <a:gd name="connsiteY9" fmla="*/ 11430 h 104775"/>
                  <a:gd name="connsiteX10" fmla="*/ 101917 w 105727"/>
                  <a:gd name="connsiteY10" fmla="*/ 2857 h 104775"/>
                  <a:gd name="connsiteX11" fmla="*/ 92392 w 105727"/>
                  <a:gd name="connsiteY11" fmla="*/ 0 h 104775"/>
                  <a:gd name="connsiteX12" fmla="*/ 80963 w 105727"/>
                  <a:gd name="connsiteY12" fmla="*/ 80963 h 104775"/>
                  <a:gd name="connsiteX13" fmla="*/ 22860 w 105727"/>
                  <a:gd name="connsiteY13" fmla="*/ 80963 h 104775"/>
                  <a:gd name="connsiteX14" fmla="*/ 22860 w 105727"/>
                  <a:gd name="connsiteY14" fmla="*/ 22860 h 104775"/>
                  <a:gd name="connsiteX15" fmla="*/ 80963 w 105727"/>
                  <a:gd name="connsiteY15" fmla="*/ 22860 h 104775"/>
                  <a:gd name="connsiteX16" fmla="*/ 80963 w 105727"/>
                  <a:gd name="connsiteY16" fmla="*/ 8096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727" h="104775">
                    <a:moveTo>
                      <a:pt x="92392" y="0"/>
                    </a:moveTo>
                    <a:lnTo>
                      <a:pt x="11430" y="0"/>
                    </a:lnTo>
                    <a:cubicBezTo>
                      <a:pt x="4763" y="0"/>
                      <a:pt x="0" y="4763"/>
                      <a:pt x="0" y="11430"/>
                    </a:cubicBezTo>
                    <a:lnTo>
                      <a:pt x="0" y="92392"/>
                    </a:lnTo>
                    <a:cubicBezTo>
                      <a:pt x="0" y="95250"/>
                      <a:pt x="952" y="98107"/>
                      <a:pt x="3810" y="100965"/>
                    </a:cubicBezTo>
                    <a:cubicBezTo>
                      <a:pt x="5715" y="102870"/>
                      <a:pt x="8573" y="104775"/>
                      <a:pt x="12382" y="104775"/>
                    </a:cubicBezTo>
                    <a:lnTo>
                      <a:pt x="93345" y="104775"/>
                    </a:lnTo>
                    <a:cubicBezTo>
                      <a:pt x="96202" y="104775"/>
                      <a:pt x="99060" y="103823"/>
                      <a:pt x="101917" y="100965"/>
                    </a:cubicBezTo>
                    <a:cubicBezTo>
                      <a:pt x="103823" y="99060"/>
                      <a:pt x="105727" y="96202"/>
                      <a:pt x="105727" y="92392"/>
                    </a:cubicBezTo>
                    <a:lnTo>
                      <a:pt x="105727" y="11430"/>
                    </a:lnTo>
                    <a:cubicBezTo>
                      <a:pt x="105727" y="8572"/>
                      <a:pt x="104775" y="5715"/>
                      <a:pt x="101917" y="2857"/>
                    </a:cubicBezTo>
                    <a:cubicBezTo>
                      <a:pt x="99060" y="952"/>
                      <a:pt x="95250" y="0"/>
                      <a:pt x="92392" y="0"/>
                    </a:cubicBezTo>
                    <a:close/>
                    <a:moveTo>
                      <a:pt x="80963" y="80963"/>
                    </a:moveTo>
                    <a:lnTo>
                      <a:pt x="22860" y="80963"/>
                    </a:lnTo>
                    <a:lnTo>
                      <a:pt x="22860" y="22860"/>
                    </a:lnTo>
                    <a:lnTo>
                      <a:pt x="80963" y="22860"/>
                    </a:lnTo>
                    <a:lnTo>
                      <a:pt x="80963" y="80963"/>
                    </a:lnTo>
                    <a:close/>
                  </a:path>
                </a:pathLst>
              </a:custGeom>
              <a:grpFill/>
              <a:ln w="9525" cap="flat">
                <a:noFill/>
                <a:prstDash val="solid"/>
                <a:miter/>
              </a:ln>
            </p:spPr>
            <p:txBody>
              <a:bodyPr rtlCol="0" anchor="ctr"/>
              <a:lstStyle/>
              <a:p>
                <a:endParaRPr lang="en-US"/>
              </a:p>
            </p:txBody>
          </p:sp>
          <p:sp>
            <p:nvSpPr>
              <p:cNvPr id="24" name="Freeform 534">
                <a:extLst>
                  <a:ext uri="{FF2B5EF4-FFF2-40B4-BE49-F238E27FC236}">
                    <a16:creationId xmlns:a16="http://schemas.microsoft.com/office/drawing/2014/main" id="{75F7952B-F0DA-B092-4FB2-FFC8985899EF}"/>
                  </a:ext>
                </a:extLst>
              </p:cNvPr>
              <p:cNvSpPr/>
              <p:nvPr/>
            </p:nvSpPr>
            <p:spPr>
              <a:xfrm>
                <a:off x="6084570" y="3258502"/>
                <a:ext cx="79057" cy="78105"/>
              </a:xfrm>
              <a:custGeom>
                <a:avLst/>
                <a:gdLst>
                  <a:gd name="connsiteX0" fmla="*/ 65722 w 79057"/>
                  <a:gd name="connsiteY0" fmla="*/ 0 h 78105"/>
                  <a:gd name="connsiteX1" fmla="*/ 11430 w 79057"/>
                  <a:gd name="connsiteY1" fmla="*/ 0 h 78105"/>
                  <a:gd name="connsiteX2" fmla="*/ 0 w 79057"/>
                  <a:gd name="connsiteY2" fmla="*/ 11430 h 78105"/>
                  <a:gd name="connsiteX3" fmla="*/ 0 w 79057"/>
                  <a:gd name="connsiteY3" fmla="*/ 65723 h 78105"/>
                  <a:gd name="connsiteX4" fmla="*/ 3810 w 79057"/>
                  <a:gd name="connsiteY4" fmla="*/ 74295 h 78105"/>
                  <a:gd name="connsiteX5" fmla="*/ 12382 w 79057"/>
                  <a:gd name="connsiteY5" fmla="*/ 78105 h 78105"/>
                  <a:gd name="connsiteX6" fmla="*/ 66675 w 79057"/>
                  <a:gd name="connsiteY6" fmla="*/ 78105 h 78105"/>
                  <a:gd name="connsiteX7" fmla="*/ 75247 w 79057"/>
                  <a:gd name="connsiteY7" fmla="*/ 74295 h 78105"/>
                  <a:gd name="connsiteX8" fmla="*/ 79057 w 79057"/>
                  <a:gd name="connsiteY8" fmla="*/ 65723 h 78105"/>
                  <a:gd name="connsiteX9" fmla="*/ 79057 w 79057"/>
                  <a:gd name="connsiteY9" fmla="*/ 11430 h 78105"/>
                  <a:gd name="connsiteX10" fmla="*/ 75247 w 79057"/>
                  <a:gd name="connsiteY10" fmla="*/ 2858 h 78105"/>
                  <a:gd name="connsiteX11" fmla="*/ 65722 w 79057"/>
                  <a:gd name="connsiteY11" fmla="*/ 0 h 78105"/>
                  <a:gd name="connsiteX12" fmla="*/ 54292 w 79057"/>
                  <a:gd name="connsiteY12" fmla="*/ 53340 h 78105"/>
                  <a:gd name="connsiteX13" fmla="*/ 23813 w 79057"/>
                  <a:gd name="connsiteY13" fmla="*/ 53340 h 78105"/>
                  <a:gd name="connsiteX14" fmla="*/ 23813 w 79057"/>
                  <a:gd name="connsiteY14" fmla="*/ 22860 h 78105"/>
                  <a:gd name="connsiteX15" fmla="*/ 54292 w 79057"/>
                  <a:gd name="connsiteY15" fmla="*/ 22860 h 78105"/>
                  <a:gd name="connsiteX16" fmla="*/ 54292 w 79057"/>
                  <a:gd name="connsiteY16" fmla="*/ 53340 h 7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57" h="78105">
                    <a:moveTo>
                      <a:pt x="65722" y="0"/>
                    </a:moveTo>
                    <a:lnTo>
                      <a:pt x="11430" y="0"/>
                    </a:lnTo>
                    <a:cubicBezTo>
                      <a:pt x="4763" y="0"/>
                      <a:pt x="0" y="4763"/>
                      <a:pt x="0" y="11430"/>
                    </a:cubicBezTo>
                    <a:lnTo>
                      <a:pt x="0" y="65723"/>
                    </a:lnTo>
                    <a:cubicBezTo>
                      <a:pt x="0" y="68580"/>
                      <a:pt x="952" y="71438"/>
                      <a:pt x="3810" y="74295"/>
                    </a:cubicBezTo>
                    <a:cubicBezTo>
                      <a:pt x="5715" y="76200"/>
                      <a:pt x="8572" y="78105"/>
                      <a:pt x="12382" y="78105"/>
                    </a:cubicBezTo>
                    <a:lnTo>
                      <a:pt x="66675" y="78105"/>
                    </a:lnTo>
                    <a:cubicBezTo>
                      <a:pt x="69532" y="78105"/>
                      <a:pt x="72390" y="77152"/>
                      <a:pt x="75247" y="74295"/>
                    </a:cubicBezTo>
                    <a:cubicBezTo>
                      <a:pt x="77152" y="72390"/>
                      <a:pt x="79057" y="69533"/>
                      <a:pt x="79057" y="65723"/>
                    </a:cubicBezTo>
                    <a:lnTo>
                      <a:pt x="79057" y="11430"/>
                    </a:lnTo>
                    <a:cubicBezTo>
                      <a:pt x="79057" y="8573"/>
                      <a:pt x="78105" y="5715"/>
                      <a:pt x="75247" y="2858"/>
                    </a:cubicBezTo>
                    <a:cubicBezTo>
                      <a:pt x="71438" y="952"/>
                      <a:pt x="68580" y="0"/>
                      <a:pt x="65722" y="0"/>
                    </a:cubicBezTo>
                    <a:close/>
                    <a:moveTo>
                      <a:pt x="54292" y="53340"/>
                    </a:moveTo>
                    <a:lnTo>
                      <a:pt x="23813" y="53340"/>
                    </a:lnTo>
                    <a:lnTo>
                      <a:pt x="23813" y="22860"/>
                    </a:lnTo>
                    <a:lnTo>
                      <a:pt x="54292" y="22860"/>
                    </a:lnTo>
                    <a:lnTo>
                      <a:pt x="54292" y="53340"/>
                    </a:lnTo>
                    <a:close/>
                  </a:path>
                </a:pathLst>
              </a:custGeom>
              <a:grpFill/>
              <a:ln w="9525" cap="flat">
                <a:noFill/>
                <a:prstDash val="solid"/>
                <a:miter/>
              </a:ln>
            </p:spPr>
            <p:txBody>
              <a:bodyPr rtlCol="0" anchor="ctr"/>
              <a:lstStyle/>
              <a:p>
                <a:endParaRPr lang="en-US"/>
              </a:p>
            </p:txBody>
          </p:sp>
          <p:sp>
            <p:nvSpPr>
              <p:cNvPr id="25" name="Freeform 535">
                <a:extLst>
                  <a:ext uri="{FF2B5EF4-FFF2-40B4-BE49-F238E27FC236}">
                    <a16:creationId xmlns:a16="http://schemas.microsoft.com/office/drawing/2014/main" id="{A7625BB7-73F4-E29B-A9DD-F76D7B98BF07}"/>
                  </a:ext>
                </a:extLst>
              </p:cNvPr>
              <p:cNvSpPr/>
              <p:nvPr/>
            </p:nvSpPr>
            <p:spPr>
              <a:xfrm>
                <a:off x="5733097" y="3068955"/>
                <a:ext cx="118110" cy="118109"/>
              </a:xfrm>
              <a:custGeom>
                <a:avLst/>
                <a:gdLst>
                  <a:gd name="connsiteX0" fmla="*/ 105727 w 118110"/>
                  <a:gd name="connsiteY0" fmla="*/ 0 h 118109"/>
                  <a:gd name="connsiteX1" fmla="*/ 11430 w 118110"/>
                  <a:gd name="connsiteY1" fmla="*/ 0 h 118109"/>
                  <a:gd name="connsiteX2" fmla="*/ 0 w 118110"/>
                  <a:gd name="connsiteY2" fmla="*/ 11430 h 118109"/>
                  <a:gd name="connsiteX3" fmla="*/ 0 w 118110"/>
                  <a:gd name="connsiteY3" fmla="*/ 105727 h 118109"/>
                  <a:gd name="connsiteX4" fmla="*/ 3810 w 118110"/>
                  <a:gd name="connsiteY4" fmla="*/ 114300 h 118109"/>
                  <a:gd name="connsiteX5" fmla="*/ 12382 w 118110"/>
                  <a:gd name="connsiteY5" fmla="*/ 118110 h 118109"/>
                  <a:gd name="connsiteX6" fmla="*/ 105727 w 118110"/>
                  <a:gd name="connsiteY6" fmla="*/ 118110 h 118109"/>
                  <a:gd name="connsiteX7" fmla="*/ 114300 w 118110"/>
                  <a:gd name="connsiteY7" fmla="*/ 114300 h 118109"/>
                  <a:gd name="connsiteX8" fmla="*/ 118110 w 118110"/>
                  <a:gd name="connsiteY8" fmla="*/ 105727 h 118109"/>
                  <a:gd name="connsiteX9" fmla="*/ 118110 w 118110"/>
                  <a:gd name="connsiteY9" fmla="*/ 11430 h 118109"/>
                  <a:gd name="connsiteX10" fmla="*/ 114300 w 118110"/>
                  <a:gd name="connsiteY10" fmla="*/ 2857 h 118109"/>
                  <a:gd name="connsiteX11" fmla="*/ 105727 w 118110"/>
                  <a:gd name="connsiteY11" fmla="*/ 0 h 118109"/>
                  <a:gd name="connsiteX12" fmla="*/ 94297 w 118110"/>
                  <a:gd name="connsiteY12" fmla="*/ 94297 h 118109"/>
                  <a:gd name="connsiteX13" fmla="*/ 22860 w 118110"/>
                  <a:gd name="connsiteY13" fmla="*/ 94297 h 118109"/>
                  <a:gd name="connsiteX14" fmla="*/ 22860 w 118110"/>
                  <a:gd name="connsiteY14" fmla="*/ 22860 h 118109"/>
                  <a:gd name="connsiteX15" fmla="*/ 94297 w 118110"/>
                  <a:gd name="connsiteY15" fmla="*/ 22860 h 118109"/>
                  <a:gd name="connsiteX16" fmla="*/ 94297 w 118110"/>
                  <a:gd name="connsiteY16" fmla="*/ 94297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110" h="118109">
                    <a:moveTo>
                      <a:pt x="105727" y="0"/>
                    </a:moveTo>
                    <a:lnTo>
                      <a:pt x="11430" y="0"/>
                    </a:lnTo>
                    <a:cubicBezTo>
                      <a:pt x="4763" y="0"/>
                      <a:pt x="0" y="4763"/>
                      <a:pt x="0" y="11430"/>
                    </a:cubicBezTo>
                    <a:lnTo>
                      <a:pt x="0" y="105727"/>
                    </a:lnTo>
                    <a:cubicBezTo>
                      <a:pt x="0" y="108585"/>
                      <a:pt x="952" y="111443"/>
                      <a:pt x="3810" y="114300"/>
                    </a:cubicBezTo>
                    <a:cubicBezTo>
                      <a:pt x="5715" y="116205"/>
                      <a:pt x="8572" y="118110"/>
                      <a:pt x="12382" y="118110"/>
                    </a:cubicBezTo>
                    <a:lnTo>
                      <a:pt x="105727" y="118110"/>
                    </a:lnTo>
                    <a:cubicBezTo>
                      <a:pt x="108585" y="118110"/>
                      <a:pt x="111442" y="117157"/>
                      <a:pt x="114300" y="114300"/>
                    </a:cubicBezTo>
                    <a:cubicBezTo>
                      <a:pt x="116205" y="112395"/>
                      <a:pt x="118110" y="109538"/>
                      <a:pt x="118110" y="105727"/>
                    </a:cubicBezTo>
                    <a:lnTo>
                      <a:pt x="118110" y="11430"/>
                    </a:lnTo>
                    <a:cubicBezTo>
                      <a:pt x="118110" y="8572"/>
                      <a:pt x="117157" y="5715"/>
                      <a:pt x="114300" y="2857"/>
                    </a:cubicBezTo>
                    <a:cubicBezTo>
                      <a:pt x="112395" y="952"/>
                      <a:pt x="109538" y="0"/>
                      <a:pt x="105727" y="0"/>
                    </a:cubicBezTo>
                    <a:close/>
                    <a:moveTo>
                      <a:pt x="94297" y="94297"/>
                    </a:moveTo>
                    <a:lnTo>
                      <a:pt x="22860" y="94297"/>
                    </a:lnTo>
                    <a:lnTo>
                      <a:pt x="22860" y="22860"/>
                    </a:lnTo>
                    <a:lnTo>
                      <a:pt x="94297" y="22860"/>
                    </a:lnTo>
                    <a:lnTo>
                      <a:pt x="94297" y="94297"/>
                    </a:lnTo>
                    <a:close/>
                  </a:path>
                </a:pathLst>
              </a:custGeom>
              <a:grpFill/>
              <a:ln w="9525" cap="flat">
                <a:noFill/>
                <a:prstDash val="solid"/>
                <a:miter/>
              </a:ln>
            </p:spPr>
            <p:txBody>
              <a:bodyPr rtlCol="0" anchor="ctr"/>
              <a:lstStyle/>
              <a:p>
                <a:endParaRPr lang="en-US"/>
              </a:p>
            </p:txBody>
          </p:sp>
          <p:sp>
            <p:nvSpPr>
              <p:cNvPr id="26" name="Freeform 536">
                <a:extLst>
                  <a:ext uri="{FF2B5EF4-FFF2-40B4-BE49-F238E27FC236}">
                    <a16:creationId xmlns:a16="http://schemas.microsoft.com/office/drawing/2014/main" id="{8465E8B7-A3EC-A247-58DD-84DE4E29686B}"/>
                  </a:ext>
                </a:extLst>
              </p:cNvPr>
              <p:cNvSpPr/>
              <p:nvPr/>
            </p:nvSpPr>
            <p:spPr>
              <a:xfrm>
                <a:off x="6408420" y="3068955"/>
                <a:ext cx="79057" cy="78105"/>
              </a:xfrm>
              <a:custGeom>
                <a:avLst/>
                <a:gdLst>
                  <a:gd name="connsiteX0" fmla="*/ 65722 w 79057"/>
                  <a:gd name="connsiteY0" fmla="*/ 0 h 78105"/>
                  <a:gd name="connsiteX1" fmla="*/ 11430 w 79057"/>
                  <a:gd name="connsiteY1" fmla="*/ 0 h 78105"/>
                  <a:gd name="connsiteX2" fmla="*/ 0 w 79057"/>
                  <a:gd name="connsiteY2" fmla="*/ 11430 h 78105"/>
                  <a:gd name="connsiteX3" fmla="*/ 0 w 79057"/>
                  <a:gd name="connsiteY3" fmla="*/ 65722 h 78105"/>
                  <a:gd name="connsiteX4" fmla="*/ 3810 w 79057"/>
                  <a:gd name="connsiteY4" fmla="*/ 74295 h 78105"/>
                  <a:gd name="connsiteX5" fmla="*/ 12382 w 79057"/>
                  <a:gd name="connsiteY5" fmla="*/ 78105 h 78105"/>
                  <a:gd name="connsiteX6" fmla="*/ 66675 w 79057"/>
                  <a:gd name="connsiteY6" fmla="*/ 78105 h 78105"/>
                  <a:gd name="connsiteX7" fmla="*/ 75247 w 79057"/>
                  <a:gd name="connsiteY7" fmla="*/ 74295 h 78105"/>
                  <a:gd name="connsiteX8" fmla="*/ 79058 w 79057"/>
                  <a:gd name="connsiteY8" fmla="*/ 65722 h 78105"/>
                  <a:gd name="connsiteX9" fmla="*/ 79058 w 79057"/>
                  <a:gd name="connsiteY9" fmla="*/ 11430 h 78105"/>
                  <a:gd name="connsiteX10" fmla="*/ 75247 w 79057"/>
                  <a:gd name="connsiteY10" fmla="*/ 2857 h 78105"/>
                  <a:gd name="connsiteX11" fmla="*/ 65722 w 79057"/>
                  <a:gd name="connsiteY11" fmla="*/ 0 h 78105"/>
                  <a:gd name="connsiteX12" fmla="*/ 54292 w 79057"/>
                  <a:gd name="connsiteY12" fmla="*/ 54293 h 78105"/>
                  <a:gd name="connsiteX13" fmla="*/ 23813 w 79057"/>
                  <a:gd name="connsiteY13" fmla="*/ 54293 h 78105"/>
                  <a:gd name="connsiteX14" fmla="*/ 23813 w 79057"/>
                  <a:gd name="connsiteY14" fmla="*/ 23813 h 78105"/>
                  <a:gd name="connsiteX15" fmla="*/ 54292 w 79057"/>
                  <a:gd name="connsiteY15" fmla="*/ 23813 h 78105"/>
                  <a:gd name="connsiteX16" fmla="*/ 54292 w 79057"/>
                  <a:gd name="connsiteY16" fmla="*/ 54293 h 7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57" h="78105">
                    <a:moveTo>
                      <a:pt x="65722" y="0"/>
                    </a:moveTo>
                    <a:lnTo>
                      <a:pt x="11430" y="0"/>
                    </a:lnTo>
                    <a:cubicBezTo>
                      <a:pt x="4763" y="0"/>
                      <a:pt x="0" y="4763"/>
                      <a:pt x="0" y="11430"/>
                    </a:cubicBezTo>
                    <a:lnTo>
                      <a:pt x="0" y="65722"/>
                    </a:lnTo>
                    <a:cubicBezTo>
                      <a:pt x="0" y="68580"/>
                      <a:pt x="952" y="71438"/>
                      <a:pt x="3810" y="74295"/>
                    </a:cubicBezTo>
                    <a:cubicBezTo>
                      <a:pt x="5715" y="76200"/>
                      <a:pt x="8572" y="78105"/>
                      <a:pt x="12382" y="78105"/>
                    </a:cubicBezTo>
                    <a:lnTo>
                      <a:pt x="66675" y="78105"/>
                    </a:lnTo>
                    <a:cubicBezTo>
                      <a:pt x="69533" y="78105"/>
                      <a:pt x="72390" y="77152"/>
                      <a:pt x="75247" y="74295"/>
                    </a:cubicBezTo>
                    <a:cubicBezTo>
                      <a:pt x="77152" y="72390"/>
                      <a:pt x="79058" y="69532"/>
                      <a:pt x="79058" y="65722"/>
                    </a:cubicBezTo>
                    <a:lnTo>
                      <a:pt x="79058" y="11430"/>
                    </a:lnTo>
                    <a:cubicBezTo>
                      <a:pt x="79058" y="8572"/>
                      <a:pt x="78105" y="5715"/>
                      <a:pt x="75247" y="2857"/>
                    </a:cubicBezTo>
                    <a:cubicBezTo>
                      <a:pt x="72390" y="952"/>
                      <a:pt x="69533" y="0"/>
                      <a:pt x="65722" y="0"/>
                    </a:cubicBezTo>
                    <a:close/>
                    <a:moveTo>
                      <a:pt x="54292" y="54293"/>
                    </a:moveTo>
                    <a:lnTo>
                      <a:pt x="23813" y="54293"/>
                    </a:lnTo>
                    <a:lnTo>
                      <a:pt x="23813" y="23813"/>
                    </a:lnTo>
                    <a:lnTo>
                      <a:pt x="54292" y="23813"/>
                    </a:lnTo>
                    <a:lnTo>
                      <a:pt x="54292" y="54293"/>
                    </a:lnTo>
                    <a:close/>
                  </a:path>
                </a:pathLst>
              </a:custGeom>
              <a:grpFill/>
              <a:ln w="9525" cap="flat">
                <a:noFill/>
                <a:prstDash val="solid"/>
                <a:miter/>
              </a:ln>
            </p:spPr>
            <p:txBody>
              <a:bodyPr rtlCol="0" anchor="ctr"/>
              <a:lstStyle/>
              <a:p>
                <a:endParaRPr lang="en-US"/>
              </a:p>
            </p:txBody>
          </p:sp>
          <p:sp>
            <p:nvSpPr>
              <p:cNvPr id="27" name="Freeform 537">
                <a:extLst>
                  <a:ext uri="{FF2B5EF4-FFF2-40B4-BE49-F238E27FC236}">
                    <a16:creationId xmlns:a16="http://schemas.microsoft.com/office/drawing/2014/main" id="{B2633C89-9E14-9586-4227-314F3C2B38D5}"/>
                  </a:ext>
                </a:extLst>
              </p:cNvPr>
              <p:cNvSpPr/>
              <p:nvPr/>
            </p:nvSpPr>
            <p:spPr>
              <a:xfrm>
                <a:off x="6057900" y="3055619"/>
                <a:ext cx="92392" cy="91440"/>
              </a:xfrm>
              <a:custGeom>
                <a:avLst/>
                <a:gdLst>
                  <a:gd name="connsiteX0" fmla="*/ 79058 w 92392"/>
                  <a:gd name="connsiteY0" fmla="*/ 0 h 91440"/>
                  <a:gd name="connsiteX1" fmla="*/ 11430 w 92392"/>
                  <a:gd name="connsiteY1" fmla="*/ 0 h 91440"/>
                  <a:gd name="connsiteX2" fmla="*/ 0 w 92392"/>
                  <a:gd name="connsiteY2" fmla="*/ 11430 h 91440"/>
                  <a:gd name="connsiteX3" fmla="*/ 0 w 92392"/>
                  <a:gd name="connsiteY3" fmla="*/ 79057 h 91440"/>
                  <a:gd name="connsiteX4" fmla="*/ 3810 w 92392"/>
                  <a:gd name="connsiteY4" fmla="*/ 87630 h 91440"/>
                  <a:gd name="connsiteX5" fmla="*/ 12383 w 92392"/>
                  <a:gd name="connsiteY5" fmla="*/ 91440 h 91440"/>
                  <a:gd name="connsiteX6" fmla="*/ 80010 w 92392"/>
                  <a:gd name="connsiteY6" fmla="*/ 91440 h 91440"/>
                  <a:gd name="connsiteX7" fmla="*/ 88583 w 92392"/>
                  <a:gd name="connsiteY7" fmla="*/ 87630 h 91440"/>
                  <a:gd name="connsiteX8" fmla="*/ 92392 w 92392"/>
                  <a:gd name="connsiteY8" fmla="*/ 79057 h 91440"/>
                  <a:gd name="connsiteX9" fmla="*/ 92392 w 92392"/>
                  <a:gd name="connsiteY9" fmla="*/ 11430 h 91440"/>
                  <a:gd name="connsiteX10" fmla="*/ 88583 w 92392"/>
                  <a:gd name="connsiteY10" fmla="*/ 2857 h 91440"/>
                  <a:gd name="connsiteX11" fmla="*/ 79058 w 92392"/>
                  <a:gd name="connsiteY11" fmla="*/ 0 h 91440"/>
                  <a:gd name="connsiteX12" fmla="*/ 66675 w 92392"/>
                  <a:gd name="connsiteY12" fmla="*/ 67628 h 91440"/>
                  <a:gd name="connsiteX13" fmla="*/ 21908 w 92392"/>
                  <a:gd name="connsiteY13" fmla="*/ 67628 h 91440"/>
                  <a:gd name="connsiteX14" fmla="*/ 21908 w 92392"/>
                  <a:gd name="connsiteY14" fmla="*/ 22860 h 91440"/>
                  <a:gd name="connsiteX15" fmla="*/ 66675 w 92392"/>
                  <a:gd name="connsiteY15" fmla="*/ 22860 h 91440"/>
                  <a:gd name="connsiteX16" fmla="*/ 66675 w 92392"/>
                  <a:gd name="connsiteY16" fmla="*/ 67628 h 9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392" h="91440">
                    <a:moveTo>
                      <a:pt x="79058" y="0"/>
                    </a:moveTo>
                    <a:lnTo>
                      <a:pt x="11430" y="0"/>
                    </a:lnTo>
                    <a:cubicBezTo>
                      <a:pt x="4763" y="0"/>
                      <a:pt x="0" y="4763"/>
                      <a:pt x="0" y="11430"/>
                    </a:cubicBezTo>
                    <a:lnTo>
                      <a:pt x="0" y="79057"/>
                    </a:lnTo>
                    <a:cubicBezTo>
                      <a:pt x="0" y="81915"/>
                      <a:pt x="952" y="84773"/>
                      <a:pt x="3810" y="87630"/>
                    </a:cubicBezTo>
                    <a:cubicBezTo>
                      <a:pt x="5715" y="89535"/>
                      <a:pt x="8573" y="91440"/>
                      <a:pt x="12383" y="91440"/>
                    </a:cubicBezTo>
                    <a:lnTo>
                      <a:pt x="80010" y="91440"/>
                    </a:lnTo>
                    <a:cubicBezTo>
                      <a:pt x="82867" y="91440"/>
                      <a:pt x="85725" y="90488"/>
                      <a:pt x="88583" y="87630"/>
                    </a:cubicBezTo>
                    <a:cubicBezTo>
                      <a:pt x="90488" y="85725"/>
                      <a:pt x="92392" y="82868"/>
                      <a:pt x="92392" y="79057"/>
                    </a:cubicBezTo>
                    <a:lnTo>
                      <a:pt x="92392" y="11430"/>
                    </a:lnTo>
                    <a:cubicBezTo>
                      <a:pt x="92392" y="8573"/>
                      <a:pt x="91440" y="5715"/>
                      <a:pt x="88583" y="2857"/>
                    </a:cubicBezTo>
                    <a:cubicBezTo>
                      <a:pt x="84773" y="953"/>
                      <a:pt x="81915" y="0"/>
                      <a:pt x="79058" y="0"/>
                    </a:cubicBezTo>
                    <a:close/>
                    <a:moveTo>
                      <a:pt x="66675" y="67628"/>
                    </a:moveTo>
                    <a:lnTo>
                      <a:pt x="21908" y="67628"/>
                    </a:lnTo>
                    <a:lnTo>
                      <a:pt x="21908" y="22860"/>
                    </a:lnTo>
                    <a:lnTo>
                      <a:pt x="66675" y="22860"/>
                    </a:lnTo>
                    <a:lnTo>
                      <a:pt x="66675" y="67628"/>
                    </a:lnTo>
                    <a:close/>
                  </a:path>
                </a:pathLst>
              </a:custGeom>
              <a:grpFill/>
              <a:ln w="9525" cap="flat">
                <a:noFill/>
                <a:prstDash val="solid"/>
                <a:miter/>
              </a:ln>
            </p:spPr>
            <p:txBody>
              <a:bodyPr rtlCol="0" anchor="ctr"/>
              <a:lstStyle/>
              <a:p>
                <a:endParaRPr lang="en-US"/>
              </a:p>
            </p:txBody>
          </p:sp>
          <p:sp>
            <p:nvSpPr>
              <p:cNvPr id="28" name="Freeform 538">
                <a:extLst>
                  <a:ext uri="{FF2B5EF4-FFF2-40B4-BE49-F238E27FC236}">
                    <a16:creationId xmlns:a16="http://schemas.microsoft.com/office/drawing/2014/main" id="{1B0F1117-E9DB-7044-A5D2-A50D0E3DB0A4}"/>
                  </a:ext>
                </a:extLst>
              </p:cNvPr>
              <p:cNvSpPr/>
              <p:nvPr/>
            </p:nvSpPr>
            <p:spPr>
              <a:xfrm>
                <a:off x="5990272" y="3432810"/>
                <a:ext cx="79057" cy="79057"/>
              </a:xfrm>
              <a:custGeom>
                <a:avLst/>
                <a:gdLst>
                  <a:gd name="connsiteX0" fmla="*/ 11430 w 79057"/>
                  <a:gd name="connsiteY0" fmla="*/ 952 h 79057"/>
                  <a:gd name="connsiteX1" fmla="*/ 0 w 79057"/>
                  <a:gd name="connsiteY1" fmla="*/ 12382 h 79057"/>
                  <a:gd name="connsiteX2" fmla="*/ 0 w 79057"/>
                  <a:gd name="connsiteY2" fmla="*/ 66675 h 79057"/>
                  <a:gd name="connsiteX3" fmla="*/ 3810 w 79057"/>
                  <a:gd name="connsiteY3" fmla="*/ 75248 h 79057"/>
                  <a:gd name="connsiteX4" fmla="*/ 12382 w 79057"/>
                  <a:gd name="connsiteY4" fmla="*/ 79057 h 79057"/>
                  <a:gd name="connsiteX5" fmla="*/ 66675 w 79057"/>
                  <a:gd name="connsiteY5" fmla="*/ 79057 h 79057"/>
                  <a:gd name="connsiteX6" fmla="*/ 75248 w 79057"/>
                  <a:gd name="connsiteY6" fmla="*/ 75248 h 79057"/>
                  <a:gd name="connsiteX7" fmla="*/ 79057 w 79057"/>
                  <a:gd name="connsiteY7" fmla="*/ 66675 h 79057"/>
                  <a:gd name="connsiteX8" fmla="*/ 79057 w 79057"/>
                  <a:gd name="connsiteY8" fmla="*/ 12382 h 79057"/>
                  <a:gd name="connsiteX9" fmla="*/ 75248 w 79057"/>
                  <a:gd name="connsiteY9" fmla="*/ 3810 h 79057"/>
                  <a:gd name="connsiteX10" fmla="*/ 66675 w 79057"/>
                  <a:gd name="connsiteY10" fmla="*/ 0 h 79057"/>
                  <a:gd name="connsiteX11" fmla="*/ 11430 w 79057"/>
                  <a:gd name="connsiteY11" fmla="*/ 0 h 79057"/>
                  <a:gd name="connsiteX12" fmla="*/ 53340 w 79057"/>
                  <a:gd name="connsiteY12" fmla="*/ 55245 h 79057"/>
                  <a:gd name="connsiteX13" fmla="*/ 22860 w 79057"/>
                  <a:gd name="connsiteY13" fmla="*/ 55245 h 79057"/>
                  <a:gd name="connsiteX14" fmla="*/ 22860 w 79057"/>
                  <a:gd name="connsiteY14" fmla="*/ 24765 h 79057"/>
                  <a:gd name="connsiteX15" fmla="*/ 53340 w 79057"/>
                  <a:gd name="connsiteY15" fmla="*/ 24765 h 79057"/>
                  <a:gd name="connsiteX16" fmla="*/ 53340 w 79057"/>
                  <a:gd name="connsiteY16" fmla="*/ 55245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57" h="79057">
                    <a:moveTo>
                      <a:pt x="11430" y="952"/>
                    </a:moveTo>
                    <a:cubicBezTo>
                      <a:pt x="4763" y="952"/>
                      <a:pt x="0" y="5715"/>
                      <a:pt x="0" y="12382"/>
                    </a:cubicBezTo>
                    <a:lnTo>
                      <a:pt x="0" y="66675"/>
                    </a:lnTo>
                    <a:cubicBezTo>
                      <a:pt x="0" y="69532"/>
                      <a:pt x="952" y="72390"/>
                      <a:pt x="3810" y="75248"/>
                    </a:cubicBezTo>
                    <a:cubicBezTo>
                      <a:pt x="5715" y="77152"/>
                      <a:pt x="8573" y="79057"/>
                      <a:pt x="12382" y="79057"/>
                    </a:cubicBezTo>
                    <a:lnTo>
                      <a:pt x="66675" y="79057"/>
                    </a:lnTo>
                    <a:cubicBezTo>
                      <a:pt x="69532" y="79057"/>
                      <a:pt x="72390" y="78105"/>
                      <a:pt x="75248" y="75248"/>
                    </a:cubicBezTo>
                    <a:cubicBezTo>
                      <a:pt x="77152" y="73342"/>
                      <a:pt x="79057" y="70485"/>
                      <a:pt x="79057" y="66675"/>
                    </a:cubicBezTo>
                    <a:lnTo>
                      <a:pt x="79057" y="12382"/>
                    </a:lnTo>
                    <a:cubicBezTo>
                      <a:pt x="79057" y="9525"/>
                      <a:pt x="78105" y="6667"/>
                      <a:pt x="75248" y="3810"/>
                    </a:cubicBezTo>
                    <a:cubicBezTo>
                      <a:pt x="73342" y="1905"/>
                      <a:pt x="70485" y="0"/>
                      <a:pt x="66675" y="0"/>
                    </a:cubicBezTo>
                    <a:lnTo>
                      <a:pt x="11430" y="0"/>
                    </a:lnTo>
                    <a:close/>
                    <a:moveTo>
                      <a:pt x="53340" y="55245"/>
                    </a:moveTo>
                    <a:lnTo>
                      <a:pt x="22860" y="55245"/>
                    </a:lnTo>
                    <a:lnTo>
                      <a:pt x="22860" y="24765"/>
                    </a:lnTo>
                    <a:lnTo>
                      <a:pt x="53340" y="24765"/>
                    </a:lnTo>
                    <a:lnTo>
                      <a:pt x="53340" y="55245"/>
                    </a:lnTo>
                    <a:close/>
                  </a:path>
                </a:pathLst>
              </a:custGeom>
              <a:grpFill/>
              <a:ln w="9525" cap="flat">
                <a:noFill/>
                <a:prstDash val="solid"/>
                <a:miter/>
              </a:ln>
            </p:spPr>
            <p:txBody>
              <a:bodyPr rtlCol="0" anchor="ctr"/>
              <a:lstStyle/>
              <a:p>
                <a:endParaRPr lang="en-US"/>
              </a:p>
            </p:txBody>
          </p:sp>
          <p:sp>
            <p:nvSpPr>
              <p:cNvPr id="29" name="Freeform 539">
                <a:extLst>
                  <a:ext uri="{FF2B5EF4-FFF2-40B4-BE49-F238E27FC236}">
                    <a16:creationId xmlns:a16="http://schemas.microsoft.com/office/drawing/2014/main" id="{EA18CB4D-57FE-9514-9525-81B0EC1BD77B}"/>
                  </a:ext>
                </a:extLst>
              </p:cNvPr>
              <p:cNvSpPr/>
              <p:nvPr/>
            </p:nvSpPr>
            <p:spPr>
              <a:xfrm>
                <a:off x="5686044" y="3201923"/>
                <a:ext cx="217932" cy="312229"/>
              </a:xfrm>
              <a:custGeom>
                <a:avLst/>
                <a:gdLst>
                  <a:gd name="connsiteX0" fmla="*/ 215646 w 217932"/>
                  <a:gd name="connsiteY0" fmla="*/ 293751 h 312229"/>
                  <a:gd name="connsiteX1" fmla="*/ 21336 w 217932"/>
                  <a:gd name="connsiteY1" fmla="*/ 5143 h 312229"/>
                  <a:gd name="connsiteX2" fmla="*/ 5143 w 217932"/>
                  <a:gd name="connsiteY2" fmla="*/ 2286 h 312229"/>
                  <a:gd name="connsiteX3" fmla="*/ 5143 w 217932"/>
                  <a:gd name="connsiteY3" fmla="*/ 2286 h 312229"/>
                  <a:gd name="connsiteX4" fmla="*/ 2286 w 217932"/>
                  <a:gd name="connsiteY4" fmla="*/ 18478 h 312229"/>
                  <a:gd name="connsiteX5" fmla="*/ 196596 w 217932"/>
                  <a:gd name="connsiteY5" fmla="*/ 307086 h 312229"/>
                  <a:gd name="connsiteX6" fmla="*/ 212789 w 217932"/>
                  <a:gd name="connsiteY6" fmla="*/ 309943 h 312229"/>
                  <a:gd name="connsiteX7" fmla="*/ 212789 w 217932"/>
                  <a:gd name="connsiteY7" fmla="*/ 309943 h 312229"/>
                  <a:gd name="connsiteX8" fmla="*/ 215646 w 217932"/>
                  <a:gd name="connsiteY8" fmla="*/ 293751 h 31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932" h="312229">
                    <a:moveTo>
                      <a:pt x="215646" y="293751"/>
                    </a:moveTo>
                    <a:lnTo>
                      <a:pt x="21336" y="5143"/>
                    </a:lnTo>
                    <a:cubicBezTo>
                      <a:pt x="17526" y="-572"/>
                      <a:pt x="10858" y="-1524"/>
                      <a:pt x="5143" y="2286"/>
                    </a:cubicBezTo>
                    <a:lnTo>
                      <a:pt x="5143" y="2286"/>
                    </a:lnTo>
                    <a:cubicBezTo>
                      <a:pt x="-571" y="6096"/>
                      <a:pt x="-1524" y="12764"/>
                      <a:pt x="2286" y="18478"/>
                    </a:cubicBezTo>
                    <a:lnTo>
                      <a:pt x="196596" y="307086"/>
                    </a:lnTo>
                    <a:cubicBezTo>
                      <a:pt x="200406" y="312801"/>
                      <a:pt x="207073" y="313754"/>
                      <a:pt x="212789" y="309943"/>
                    </a:cubicBezTo>
                    <a:lnTo>
                      <a:pt x="212789" y="309943"/>
                    </a:lnTo>
                    <a:cubicBezTo>
                      <a:pt x="218504" y="306134"/>
                      <a:pt x="219456" y="298514"/>
                      <a:pt x="215646" y="293751"/>
                    </a:cubicBezTo>
                    <a:close/>
                  </a:path>
                </a:pathLst>
              </a:custGeom>
              <a:grpFill/>
              <a:ln w="9525" cap="flat">
                <a:noFill/>
                <a:prstDash val="solid"/>
                <a:miter/>
              </a:ln>
            </p:spPr>
            <p:txBody>
              <a:bodyPr rtlCol="0" anchor="ctr"/>
              <a:lstStyle/>
              <a:p>
                <a:endParaRPr lang="en-US"/>
              </a:p>
            </p:txBody>
          </p:sp>
          <p:sp>
            <p:nvSpPr>
              <p:cNvPr id="30" name="Freeform 540">
                <a:extLst>
                  <a:ext uri="{FF2B5EF4-FFF2-40B4-BE49-F238E27FC236}">
                    <a16:creationId xmlns:a16="http://schemas.microsoft.com/office/drawing/2014/main" id="{C94BF3FD-CCF6-1138-F0DB-6667A688B19E}"/>
                  </a:ext>
                </a:extLst>
              </p:cNvPr>
              <p:cNvSpPr/>
              <p:nvPr/>
            </p:nvSpPr>
            <p:spPr>
              <a:xfrm>
                <a:off x="5882749" y="3541395"/>
                <a:ext cx="425549" cy="348614"/>
              </a:xfrm>
              <a:custGeom>
                <a:avLst/>
                <a:gdLst>
                  <a:gd name="connsiteX0" fmla="*/ 25608 w 425549"/>
                  <a:gd name="connsiteY0" fmla="*/ 348615 h 348614"/>
                  <a:gd name="connsiteX1" fmla="*/ 25608 w 425549"/>
                  <a:gd name="connsiteY1" fmla="*/ 348615 h 348614"/>
                  <a:gd name="connsiteX2" fmla="*/ 400893 w 425549"/>
                  <a:gd name="connsiteY2" fmla="*/ 348615 h 348614"/>
                  <a:gd name="connsiteX3" fmla="*/ 400893 w 425549"/>
                  <a:gd name="connsiteY3" fmla="*/ 348615 h 348614"/>
                  <a:gd name="connsiteX4" fmla="*/ 421848 w 425549"/>
                  <a:gd name="connsiteY4" fmla="*/ 336233 h 348614"/>
                  <a:gd name="connsiteX5" fmla="*/ 422801 w 425549"/>
                  <a:gd name="connsiteY5" fmla="*/ 311467 h 348614"/>
                  <a:gd name="connsiteX6" fmla="*/ 399941 w 425549"/>
                  <a:gd name="connsiteY6" fmla="*/ 265747 h 348614"/>
                  <a:gd name="connsiteX7" fmla="*/ 399941 w 425549"/>
                  <a:gd name="connsiteY7" fmla="*/ 25717 h 348614"/>
                  <a:gd name="connsiteX8" fmla="*/ 392321 w 425549"/>
                  <a:gd name="connsiteY8" fmla="*/ 7620 h 348614"/>
                  <a:gd name="connsiteX9" fmla="*/ 374223 w 425549"/>
                  <a:gd name="connsiteY9" fmla="*/ 0 h 348614"/>
                  <a:gd name="connsiteX10" fmla="*/ 51326 w 425549"/>
                  <a:gd name="connsiteY10" fmla="*/ 0 h 348614"/>
                  <a:gd name="connsiteX11" fmla="*/ 33228 w 425549"/>
                  <a:gd name="connsiteY11" fmla="*/ 7620 h 348614"/>
                  <a:gd name="connsiteX12" fmla="*/ 25608 w 425549"/>
                  <a:gd name="connsiteY12" fmla="*/ 25717 h 348614"/>
                  <a:gd name="connsiteX13" fmla="*/ 25608 w 425549"/>
                  <a:gd name="connsiteY13" fmla="*/ 266700 h 348614"/>
                  <a:gd name="connsiteX14" fmla="*/ 2748 w 425549"/>
                  <a:gd name="connsiteY14" fmla="*/ 311467 h 348614"/>
                  <a:gd name="connsiteX15" fmla="*/ 3701 w 425549"/>
                  <a:gd name="connsiteY15" fmla="*/ 336233 h 348614"/>
                  <a:gd name="connsiteX16" fmla="*/ 25608 w 425549"/>
                  <a:gd name="connsiteY16" fmla="*/ 348615 h 348614"/>
                  <a:gd name="connsiteX17" fmla="*/ 49421 w 425549"/>
                  <a:gd name="connsiteY17" fmla="*/ 23813 h 348614"/>
                  <a:gd name="connsiteX18" fmla="*/ 378033 w 425549"/>
                  <a:gd name="connsiteY18" fmla="*/ 23813 h 348614"/>
                  <a:gd name="connsiteX19" fmla="*/ 378033 w 425549"/>
                  <a:gd name="connsiteY19" fmla="*/ 257175 h 348614"/>
                  <a:gd name="connsiteX20" fmla="*/ 49421 w 425549"/>
                  <a:gd name="connsiteY20" fmla="*/ 257175 h 348614"/>
                  <a:gd name="connsiteX21" fmla="*/ 49421 w 425549"/>
                  <a:gd name="connsiteY21" fmla="*/ 23813 h 348614"/>
                  <a:gd name="connsiteX22" fmla="*/ 44658 w 425549"/>
                  <a:gd name="connsiteY22" fmla="*/ 280988 h 348614"/>
                  <a:gd name="connsiteX23" fmla="*/ 381843 w 425549"/>
                  <a:gd name="connsiteY23" fmla="*/ 280988 h 348614"/>
                  <a:gd name="connsiteX24" fmla="*/ 403751 w 425549"/>
                  <a:gd name="connsiteY24" fmla="*/ 325755 h 348614"/>
                  <a:gd name="connsiteX25" fmla="*/ 22751 w 425549"/>
                  <a:gd name="connsiteY25" fmla="*/ 325755 h 348614"/>
                  <a:gd name="connsiteX26" fmla="*/ 44658 w 425549"/>
                  <a:gd name="connsiteY26" fmla="*/ 280988 h 34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5549" h="348614">
                    <a:moveTo>
                      <a:pt x="25608" y="348615"/>
                    </a:moveTo>
                    <a:cubicBezTo>
                      <a:pt x="25608" y="348615"/>
                      <a:pt x="25608" y="348615"/>
                      <a:pt x="25608" y="348615"/>
                    </a:cubicBezTo>
                    <a:lnTo>
                      <a:pt x="400893" y="348615"/>
                    </a:lnTo>
                    <a:cubicBezTo>
                      <a:pt x="400893" y="348615"/>
                      <a:pt x="400893" y="348615"/>
                      <a:pt x="400893" y="348615"/>
                    </a:cubicBezTo>
                    <a:cubicBezTo>
                      <a:pt x="409466" y="348615"/>
                      <a:pt x="418038" y="343852"/>
                      <a:pt x="421848" y="336233"/>
                    </a:cubicBezTo>
                    <a:cubicBezTo>
                      <a:pt x="426611" y="328613"/>
                      <a:pt x="426611" y="319088"/>
                      <a:pt x="422801" y="311467"/>
                    </a:cubicBezTo>
                    <a:lnTo>
                      <a:pt x="399941" y="265747"/>
                    </a:lnTo>
                    <a:lnTo>
                      <a:pt x="399941" y="25717"/>
                    </a:lnTo>
                    <a:cubicBezTo>
                      <a:pt x="399941" y="19050"/>
                      <a:pt x="397083" y="12382"/>
                      <a:pt x="392321" y="7620"/>
                    </a:cubicBezTo>
                    <a:cubicBezTo>
                      <a:pt x="387558" y="2857"/>
                      <a:pt x="380891" y="0"/>
                      <a:pt x="374223" y="0"/>
                    </a:cubicBezTo>
                    <a:lnTo>
                      <a:pt x="51326" y="0"/>
                    </a:lnTo>
                    <a:cubicBezTo>
                      <a:pt x="44658" y="0"/>
                      <a:pt x="37991" y="2857"/>
                      <a:pt x="33228" y="7620"/>
                    </a:cubicBezTo>
                    <a:cubicBezTo>
                      <a:pt x="28466" y="12382"/>
                      <a:pt x="25608" y="19050"/>
                      <a:pt x="25608" y="25717"/>
                    </a:cubicBezTo>
                    <a:lnTo>
                      <a:pt x="25608" y="266700"/>
                    </a:lnTo>
                    <a:lnTo>
                      <a:pt x="2748" y="311467"/>
                    </a:lnTo>
                    <a:cubicBezTo>
                      <a:pt x="-1062" y="319088"/>
                      <a:pt x="-1062" y="328613"/>
                      <a:pt x="3701" y="336233"/>
                    </a:cubicBezTo>
                    <a:cubicBezTo>
                      <a:pt x="8463" y="343852"/>
                      <a:pt x="17036" y="348615"/>
                      <a:pt x="25608" y="348615"/>
                    </a:cubicBezTo>
                    <a:close/>
                    <a:moveTo>
                      <a:pt x="49421" y="23813"/>
                    </a:moveTo>
                    <a:lnTo>
                      <a:pt x="378033" y="23813"/>
                    </a:lnTo>
                    <a:lnTo>
                      <a:pt x="378033" y="257175"/>
                    </a:lnTo>
                    <a:lnTo>
                      <a:pt x="49421" y="257175"/>
                    </a:lnTo>
                    <a:lnTo>
                      <a:pt x="49421" y="23813"/>
                    </a:lnTo>
                    <a:close/>
                    <a:moveTo>
                      <a:pt x="44658" y="280988"/>
                    </a:moveTo>
                    <a:lnTo>
                      <a:pt x="381843" y="280988"/>
                    </a:lnTo>
                    <a:lnTo>
                      <a:pt x="403751" y="325755"/>
                    </a:lnTo>
                    <a:lnTo>
                      <a:pt x="22751" y="325755"/>
                    </a:lnTo>
                    <a:lnTo>
                      <a:pt x="44658" y="280988"/>
                    </a:lnTo>
                    <a:close/>
                  </a:path>
                </a:pathLst>
              </a:custGeom>
              <a:grpFill/>
              <a:ln w="9525" cap="flat">
                <a:noFill/>
                <a:prstDash val="solid"/>
                <a:miter/>
              </a:ln>
            </p:spPr>
            <p:txBody>
              <a:bodyPr rtlCol="0" anchor="ctr"/>
              <a:lstStyle/>
              <a:p>
                <a:endParaRPr lang="en-US"/>
              </a:p>
            </p:txBody>
          </p:sp>
          <p:sp>
            <p:nvSpPr>
              <p:cNvPr id="31" name="Freeform 541">
                <a:extLst>
                  <a:ext uri="{FF2B5EF4-FFF2-40B4-BE49-F238E27FC236}">
                    <a16:creationId xmlns:a16="http://schemas.microsoft.com/office/drawing/2014/main" id="{382C7699-475C-361B-1996-897A0A5EF980}"/>
                  </a:ext>
                </a:extLst>
              </p:cNvPr>
              <p:cNvSpPr/>
              <p:nvPr/>
            </p:nvSpPr>
            <p:spPr>
              <a:xfrm>
                <a:off x="6043526" y="3595687"/>
                <a:ext cx="108756" cy="172402"/>
              </a:xfrm>
              <a:custGeom>
                <a:avLst/>
                <a:gdLst>
                  <a:gd name="connsiteX0" fmla="*/ 45806 w 108756"/>
                  <a:gd name="connsiteY0" fmla="*/ 0 h 172402"/>
                  <a:gd name="connsiteX1" fmla="*/ 41043 w 108756"/>
                  <a:gd name="connsiteY1" fmla="*/ 4763 h 172402"/>
                  <a:gd name="connsiteX2" fmla="*/ 41043 w 108756"/>
                  <a:gd name="connsiteY2" fmla="*/ 123825 h 172402"/>
                  <a:gd name="connsiteX3" fmla="*/ 19136 w 108756"/>
                  <a:gd name="connsiteY3" fmla="*/ 92392 h 172402"/>
                  <a:gd name="connsiteX4" fmla="*/ 12468 w 108756"/>
                  <a:gd name="connsiteY4" fmla="*/ 91440 h 172402"/>
                  <a:gd name="connsiteX5" fmla="*/ 1991 w 108756"/>
                  <a:gd name="connsiteY5" fmla="*/ 99060 h 172402"/>
                  <a:gd name="connsiteX6" fmla="*/ 1038 w 108756"/>
                  <a:gd name="connsiteY6" fmla="*/ 105727 h 172402"/>
                  <a:gd name="connsiteX7" fmla="*/ 44853 w 108756"/>
                  <a:gd name="connsiteY7" fmla="*/ 167640 h 172402"/>
                  <a:gd name="connsiteX8" fmla="*/ 54378 w 108756"/>
                  <a:gd name="connsiteY8" fmla="*/ 172402 h 172402"/>
                  <a:gd name="connsiteX9" fmla="*/ 63903 w 108756"/>
                  <a:gd name="connsiteY9" fmla="*/ 167640 h 172402"/>
                  <a:gd name="connsiteX10" fmla="*/ 107718 w 108756"/>
                  <a:gd name="connsiteY10" fmla="*/ 105727 h 172402"/>
                  <a:gd name="connsiteX11" fmla="*/ 106766 w 108756"/>
                  <a:gd name="connsiteY11" fmla="*/ 99060 h 172402"/>
                  <a:gd name="connsiteX12" fmla="*/ 96288 w 108756"/>
                  <a:gd name="connsiteY12" fmla="*/ 91440 h 172402"/>
                  <a:gd name="connsiteX13" fmla="*/ 89621 w 108756"/>
                  <a:gd name="connsiteY13" fmla="*/ 92392 h 172402"/>
                  <a:gd name="connsiteX14" fmla="*/ 67713 w 108756"/>
                  <a:gd name="connsiteY14" fmla="*/ 123825 h 172402"/>
                  <a:gd name="connsiteX15" fmla="*/ 67713 w 108756"/>
                  <a:gd name="connsiteY15" fmla="*/ 4763 h 172402"/>
                  <a:gd name="connsiteX16" fmla="*/ 62951 w 108756"/>
                  <a:gd name="connsiteY16" fmla="*/ 0 h 172402"/>
                  <a:gd name="connsiteX17" fmla="*/ 45806 w 108756"/>
                  <a:gd name="connsiteY17" fmla="*/ 0 h 1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756" h="172402">
                    <a:moveTo>
                      <a:pt x="45806" y="0"/>
                    </a:moveTo>
                    <a:cubicBezTo>
                      <a:pt x="42948" y="0"/>
                      <a:pt x="41043" y="1905"/>
                      <a:pt x="41043" y="4763"/>
                    </a:cubicBezTo>
                    <a:lnTo>
                      <a:pt x="41043" y="123825"/>
                    </a:lnTo>
                    <a:lnTo>
                      <a:pt x="19136" y="92392"/>
                    </a:lnTo>
                    <a:cubicBezTo>
                      <a:pt x="17231" y="90488"/>
                      <a:pt x="14373" y="89535"/>
                      <a:pt x="12468" y="91440"/>
                    </a:cubicBezTo>
                    <a:lnTo>
                      <a:pt x="1991" y="99060"/>
                    </a:lnTo>
                    <a:cubicBezTo>
                      <a:pt x="86" y="100965"/>
                      <a:pt x="-867" y="103823"/>
                      <a:pt x="1038" y="105727"/>
                    </a:cubicBezTo>
                    <a:lnTo>
                      <a:pt x="44853" y="167640"/>
                    </a:lnTo>
                    <a:cubicBezTo>
                      <a:pt x="46758" y="170498"/>
                      <a:pt x="50568" y="172402"/>
                      <a:pt x="54378" y="172402"/>
                    </a:cubicBezTo>
                    <a:cubicBezTo>
                      <a:pt x="58188" y="172402"/>
                      <a:pt x="61998" y="170498"/>
                      <a:pt x="63903" y="167640"/>
                    </a:cubicBezTo>
                    <a:lnTo>
                      <a:pt x="107718" y="105727"/>
                    </a:lnTo>
                    <a:cubicBezTo>
                      <a:pt x="109623" y="103823"/>
                      <a:pt x="108671" y="100013"/>
                      <a:pt x="106766" y="99060"/>
                    </a:cubicBezTo>
                    <a:lnTo>
                      <a:pt x="96288" y="91440"/>
                    </a:lnTo>
                    <a:cubicBezTo>
                      <a:pt x="94383" y="89535"/>
                      <a:pt x="90573" y="90488"/>
                      <a:pt x="89621" y="92392"/>
                    </a:cubicBezTo>
                    <a:lnTo>
                      <a:pt x="67713" y="123825"/>
                    </a:lnTo>
                    <a:lnTo>
                      <a:pt x="67713" y="4763"/>
                    </a:lnTo>
                    <a:cubicBezTo>
                      <a:pt x="67713" y="1905"/>
                      <a:pt x="65808" y="0"/>
                      <a:pt x="62951" y="0"/>
                    </a:cubicBezTo>
                    <a:lnTo>
                      <a:pt x="45806" y="0"/>
                    </a:lnTo>
                    <a:close/>
                  </a:path>
                </a:pathLst>
              </a:custGeom>
              <a:grpFill/>
              <a:ln w="9525" cap="flat">
                <a:noFill/>
                <a:prstDash val="solid"/>
                <a:miter/>
              </a:ln>
            </p:spPr>
            <p:txBody>
              <a:bodyPr rtlCol="0" anchor="ctr"/>
              <a:lstStyle/>
              <a:p>
                <a:endParaRPr lang="en-US"/>
              </a:p>
            </p:txBody>
          </p:sp>
          <p:sp>
            <p:nvSpPr>
              <p:cNvPr id="32" name="Freeform 542">
                <a:extLst>
                  <a:ext uri="{FF2B5EF4-FFF2-40B4-BE49-F238E27FC236}">
                    <a16:creationId xmlns:a16="http://schemas.microsoft.com/office/drawing/2014/main" id="{0156E4E6-8B81-699B-D6B4-89AE6B9BFA25}"/>
                  </a:ext>
                </a:extLst>
              </p:cNvPr>
              <p:cNvSpPr/>
              <p:nvPr/>
            </p:nvSpPr>
            <p:spPr>
              <a:xfrm>
                <a:off x="6288023" y="3201230"/>
                <a:ext cx="217672" cy="311711"/>
              </a:xfrm>
              <a:custGeom>
                <a:avLst/>
                <a:gdLst>
                  <a:gd name="connsiteX0" fmla="*/ 5143 w 217672"/>
                  <a:gd name="connsiteY0" fmla="*/ 309684 h 311711"/>
                  <a:gd name="connsiteX1" fmla="*/ 5143 w 217672"/>
                  <a:gd name="connsiteY1" fmla="*/ 309684 h 311711"/>
                  <a:gd name="connsiteX2" fmla="*/ 21336 w 217672"/>
                  <a:gd name="connsiteY2" fmla="*/ 306827 h 311711"/>
                  <a:gd name="connsiteX3" fmla="*/ 215646 w 217672"/>
                  <a:gd name="connsiteY3" fmla="*/ 18219 h 311711"/>
                  <a:gd name="connsiteX4" fmla="*/ 212789 w 217672"/>
                  <a:gd name="connsiteY4" fmla="*/ 2027 h 311711"/>
                  <a:gd name="connsiteX5" fmla="*/ 212789 w 217672"/>
                  <a:gd name="connsiteY5" fmla="*/ 2027 h 311711"/>
                  <a:gd name="connsiteX6" fmla="*/ 196596 w 217672"/>
                  <a:gd name="connsiteY6" fmla="*/ 4884 h 311711"/>
                  <a:gd name="connsiteX7" fmla="*/ 2286 w 217672"/>
                  <a:gd name="connsiteY7" fmla="*/ 294444 h 311711"/>
                  <a:gd name="connsiteX8" fmla="*/ 5143 w 217672"/>
                  <a:gd name="connsiteY8" fmla="*/ 309684 h 31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672" h="311711">
                    <a:moveTo>
                      <a:pt x="5143" y="309684"/>
                    </a:moveTo>
                    <a:lnTo>
                      <a:pt x="5143" y="309684"/>
                    </a:lnTo>
                    <a:cubicBezTo>
                      <a:pt x="10859" y="313494"/>
                      <a:pt x="17526" y="311589"/>
                      <a:pt x="21336" y="306827"/>
                    </a:cubicBezTo>
                    <a:lnTo>
                      <a:pt x="215646" y="18219"/>
                    </a:lnTo>
                    <a:cubicBezTo>
                      <a:pt x="219456" y="12504"/>
                      <a:pt x="217551" y="5837"/>
                      <a:pt x="212789" y="2027"/>
                    </a:cubicBezTo>
                    <a:lnTo>
                      <a:pt x="212789" y="2027"/>
                    </a:lnTo>
                    <a:cubicBezTo>
                      <a:pt x="207073" y="-1783"/>
                      <a:pt x="200406" y="122"/>
                      <a:pt x="196596" y="4884"/>
                    </a:cubicBezTo>
                    <a:lnTo>
                      <a:pt x="2286" y="294444"/>
                    </a:lnTo>
                    <a:cubicBezTo>
                      <a:pt x="-1524" y="299207"/>
                      <a:pt x="-572" y="306827"/>
                      <a:pt x="5143" y="309684"/>
                    </a:cubicBezTo>
                    <a:close/>
                  </a:path>
                </a:pathLst>
              </a:custGeom>
              <a:grpFill/>
              <a:ln w="9525" cap="flat">
                <a:noFill/>
                <a:prstDash val="solid"/>
                <a:miter/>
              </a:ln>
            </p:spPr>
            <p:txBody>
              <a:bodyPr rtlCol="0" anchor="ctr"/>
              <a:lstStyle/>
              <a:p>
                <a:endParaRPr lang="en-US"/>
              </a:p>
            </p:txBody>
          </p:sp>
          <p:sp>
            <p:nvSpPr>
              <p:cNvPr id="33" name="Freeform 543">
                <a:extLst>
                  <a:ext uri="{FF2B5EF4-FFF2-40B4-BE49-F238E27FC236}">
                    <a16:creationId xmlns:a16="http://schemas.microsoft.com/office/drawing/2014/main" id="{A2B121D1-9164-9B4C-6971-573EA7514892}"/>
                  </a:ext>
                </a:extLst>
              </p:cNvPr>
              <p:cNvSpPr/>
              <p:nvPr/>
            </p:nvSpPr>
            <p:spPr>
              <a:xfrm>
                <a:off x="5881687" y="3270885"/>
                <a:ext cx="105727" cy="105727"/>
              </a:xfrm>
              <a:custGeom>
                <a:avLst/>
                <a:gdLst>
                  <a:gd name="connsiteX0" fmla="*/ 0 w 105727"/>
                  <a:gd name="connsiteY0" fmla="*/ 12382 h 105727"/>
                  <a:gd name="connsiteX1" fmla="*/ 0 w 105727"/>
                  <a:gd name="connsiteY1" fmla="*/ 93345 h 105727"/>
                  <a:gd name="connsiteX2" fmla="*/ 3810 w 105727"/>
                  <a:gd name="connsiteY2" fmla="*/ 101917 h 105727"/>
                  <a:gd name="connsiteX3" fmla="*/ 12383 w 105727"/>
                  <a:gd name="connsiteY3" fmla="*/ 105727 h 105727"/>
                  <a:gd name="connsiteX4" fmla="*/ 93345 w 105727"/>
                  <a:gd name="connsiteY4" fmla="*/ 105727 h 105727"/>
                  <a:gd name="connsiteX5" fmla="*/ 101917 w 105727"/>
                  <a:gd name="connsiteY5" fmla="*/ 101917 h 105727"/>
                  <a:gd name="connsiteX6" fmla="*/ 105727 w 105727"/>
                  <a:gd name="connsiteY6" fmla="*/ 93345 h 105727"/>
                  <a:gd name="connsiteX7" fmla="*/ 105727 w 105727"/>
                  <a:gd name="connsiteY7" fmla="*/ 12382 h 105727"/>
                  <a:gd name="connsiteX8" fmla="*/ 101917 w 105727"/>
                  <a:gd name="connsiteY8" fmla="*/ 3810 h 105727"/>
                  <a:gd name="connsiteX9" fmla="*/ 93345 w 105727"/>
                  <a:gd name="connsiteY9" fmla="*/ 0 h 105727"/>
                  <a:gd name="connsiteX10" fmla="*/ 12383 w 105727"/>
                  <a:gd name="connsiteY10" fmla="*/ 0 h 105727"/>
                  <a:gd name="connsiteX11" fmla="*/ 0 w 105727"/>
                  <a:gd name="connsiteY11" fmla="*/ 12382 h 105727"/>
                  <a:gd name="connsiteX12" fmla="*/ 22860 w 105727"/>
                  <a:gd name="connsiteY12" fmla="*/ 23813 h 105727"/>
                  <a:gd name="connsiteX13" fmla="*/ 80963 w 105727"/>
                  <a:gd name="connsiteY13" fmla="*/ 23813 h 105727"/>
                  <a:gd name="connsiteX14" fmla="*/ 80963 w 105727"/>
                  <a:gd name="connsiteY14" fmla="*/ 81915 h 105727"/>
                  <a:gd name="connsiteX15" fmla="*/ 22860 w 105727"/>
                  <a:gd name="connsiteY15" fmla="*/ 81915 h 105727"/>
                  <a:gd name="connsiteX16" fmla="*/ 22860 w 105727"/>
                  <a:gd name="connsiteY16" fmla="*/ 23813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727" h="105727">
                    <a:moveTo>
                      <a:pt x="0" y="12382"/>
                    </a:moveTo>
                    <a:lnTo>
                      <a:pt x="0" y="93345"/>
                    </a:lnTo>
                    <a:cubicBezTo>
                      <a:pt x="0" y="96202"/>
                      <a:pt x="952" y="99060"/>
                      <a:pt x="3810" y="101917"/>
                    </a:cubicBezTo>
                    <a:cubicBezTo>
                      <a:pt x="5715" y="103823"/>
                      <a:pt x="8573" y="105727"/>
                      <a:pt x="12383" y="105727"/>
                    </a:cubicBezTo>
                    <a:lnTo>
                      <a:pt x="93345" y="105727"/>
                    </a:lnTo>
                    <a:cubicBezTo>
                      <a:pt x="96202" y="105727"/>
                      <a:pt x="99060" y="104775"/>
                      <a:pt x="101917" y="101917"/>
                    </a:cubicBezTo>
                    <a:cubicBezTo>
                      <a:pt x="103823" y="100013"/>
                      <a:pt x="105727" y="97155"/>
                      <a:pt x="105727" y="93345"/>
                    </a:cubicBezTo>
                    <a:lnTo>
                      <a:pt x="105727" y="12382"/>
                    </a:lnTo>
                    <a:cubicBezTo>
                      <a:pt x="105727" y="9525"/>
                      <a:pt x="104775" y="6667"/>
                      <a:pt x="101917" y="3810"/>
                    </a:cubicBezTo>
                    <a:cubicBezTo>
                      <a:pt x="100013" y="1905"/>
                      <a:pt x="97155" y="0"/>
                      <a:pt x="93345" y="0"/>
                    </a:cubicBezTo>
                    <a:lnTo>
                      <a:pt x="12383" y="0"/>
                    </a:lnTo>
                    <a:cubicBezTo>
                      <a:pt x="4763" y="952"/>
                      <a:pt x="0" y="5715"/>
                      <a:pt x="0" y="12382"/>
                    </a:cubicBezTo>
                    <a:close/>
                    <a:moveTo>
                      <a:pt x="22860" y="23813"/>
                    </a:moveTo>
                    <a:lnTo>
                      <a:pt x="80963" y="23813"/>
                    </a:lnTo>
                    <a:lnTo>
                      <a:pt x="80963" y="81915"/>
                    </a:lnTo>
                    <a:lnTo>
                      <a:pt x="22860" y="81915"/>
                    </a:lnTo>
                    <a:lnTo>
                      <a:pt x="22860" y="23813"/>
                    </a:lnTo>
                    <a:close/>
                  </a:path>
                </a:pathLst>
              </a:custGeom>
              <a:grpFill/>
              <a:ln w="9525" cap="flat">
                <a:noFill/>
                <a:prstDash val="solid"/>
                <a:miter/>
              </a:ln>
            </p:spPr>
            <p:txBody>
              <a:bodyPr rtlCol="0" anchor="ctr"/>
              <a:lstStyle/>
              <a:p>
                <a:endParaRPr lang="en-US"/>
              </a:p>
            </p:txBody>
          </p:sp>
          <p:sp>
            <p:nvSpPr>
              <p:cNvPr id="34" name="Freeform 544">
                <a:extLst>
                  <a:ext uri="{FF2B5EF4-FFF2-40B4-BE49-F238E27FC236}">
                    <a16:creationId xmlns:a16="http://schemas.microsoft.com/office/drawing/2014/main" id="{DAB599A3-1CCC-D7B2-FBDB-517501A0753C}"/>
                  </a:ext>
                </a:extLst>
              </p:cNvPr>
              <p:cNvSpPr/>
              <p:nvPr/>
            </p:nvSpPr>
            <p:spPr>
              <a:xfrm>
                <a:off x="5922645" y="3136582"/>
                <a:ext cx="79057" cy="78105"/>
              </a:xfrm>
              <a:custGeom>
                <a:avLst/>
                <a:gdLst>
                  <a:gd name="connsiteX0" fmla="*/ 64770 w 79057"/>
                  <a:gd name="connsiteY0" fmla="*/ 0 h 78105"/>
                  <a:gd name="connsiteX1" fmla="*/ 11430 w 79057"/>
                  <a:gd name="connsiteY1" fmla="*/ 0 h 78105"/>
                  <a:gd name="connsiteX2" fmla="*/ 0 w 79057"/>
                  <a:gd name="connsiteY2" fmla="*/ 11430 h 78105"/>
                  <a:gd name="connsiteX3" fmla="*/ 0 w 79057"/>
                  <a:gd name="connsiteY3" fmla="*/ 65722 h 78105"/>
                  <a:gd name="connsiteX4" fmla="*/ 3810 w 79057"/>
                  <a:gd name="connsiteY4" fmla="*/ 74295 h 78105"/>
                  <a:gd name="connsiteX5" fmla="*/ 12382 w 79057"/>
                  <a:gd name="connsiteY5" fmla="*/ 78105 h 78105"/>
                  <a:gd name="connsiteX6" fmla="*/ 66675 w 79057"/>
                  <a:gd name="connsiteY6" fmla="*/ 78105 h 78105"/>
                  <a:gd name="connsiteX7" fmla="*/ 75247 w 79057"/>
                  <a:gd name="connsiteY7" fmla="*/ 74295 h 78105"/>
                  <a:gd name="connsiteX8" fmla="*/ 79057 w 79057"/>
                  <a:gd name="connsiteY8" fmla="*/ 65722 h 78105"/>
                  <a:gd name="connsiteX9" fmla="*/ 79057 w 79057"/>
                  <a:gd name="connsiteY9" fmla="*/ 11430 h 78105"/>
                  <a:gd name="connsiteX10" fmla="*/ 75247 w 79057"/>
                  <a:gd name="connsiteY10" fmla="*/ 2857 h 78105"/>
                  <a:gd name="connsiteX11" fmla="*/ 64770 w 79057"/>
                  <a:gd name="connsiteY11" fmla="*/ 0 h 78105"/>
                  <a:gd name="connsiteX12" fmla="*/ 53340 w 79057"/>
                  <a:gd name="connsiteY12" fmla="*/ 54293 h 78105"/>
                  <a:gd name="connsiteX13" fmla="*/ 22860 w 79057"/>
                  <a:gd name="connsiteY13" fmla="*/ 54293 h 78105"/>
                  <a:gd name="connsiteX14" fmla="*/ 22860 w 79057"/>
                  <a:gd name="connsiteY14" fmla="*/ 23813 h 78105"/>
                  <a:gd name="connsiteX15" fmla="*/ 53340 w 79057"/>
                  <a:gd name="connsiteY15" fmla="*/ 23813 h 78105"/>
                  <a:gd name="connsiteX16" fmla="*/ 53340 w 79057"/>
                  <a:gd name="connsiteY16" fmla="*/ 54293 h 7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57" h="78105">
                    <a:moveTo>
                      <a:pt x="64770" y="0"/>
                    </a:moveTo>
                    <a:lnTo>
                      <a:pt x="11430" y="0"/>
                    </a:lnTo>
                    <a:cubicBezTo>
                      <a:pt x="4763" y="0"/>
                      <a:pt x="0" y="4763"/>
                      <a:pt x="0" y="11430"/>
                    </a:cubicBezTo>
                    <a:lnTo>
                      <a:pt x="0" y="65722"/>
                    </a:lnTo>
                    <a:cubicBezTo>
                      <a:pt x="0" y="68580"/>
                      <a:pt x="952" y="71438"/>
                      <a:pt x="3810" y="74295"/>
                    </a:cubicBezTo>
                    <a:cubicBezTo>
                      <a:pt x="5715" y="76200"/>
                      <a:pt x="8572" y="78105"/>
                      <a:pt x="12382" y="78105"/>
                    </a:cubicBezTo>
                    <a:lnTo>
                      <a:pt x="66675" y="78105"/>
                    </a:lnTo>
                    <a:cubicBezTo>
                      <a:pt x="69532" y="78105"/>
                      <a:pt x="72390" y="77153"/>
                      <a:pt x="75247" y="74295"/>
                    </a:cubicBezTo>
                    <a:cubicBezTo>
                      <a:pt x="77152" y="72390"/>
                      <a:pt x="79057" y="69532"/>
                      <a:pt x="79057" y="65722"/>
                    </a:cubicBezTo>
                    <a:lnTo>
                      <a:pt x="79057" y="11430"/>
                    </a:lnTo>
                    <a:cubicBezTo>
                      <a:pt x="79057" y="8573"/>
                      <a:pt x="78105" y="5715"/>
                      <a:pt x="75247" y="2857"/>
                    </a:cubicBezTo>
                    <a:cubicBezTo>
                      <a:pt x="71438" y="953"/>
                      <a:pt x="68580" y="0"/>
                      <a:pt x="64770" y="0"/>
                    </a:cubicBezTo>
                    <a:close/>
                    <a:moveTo>
                      <a:pt x="53340" y="54293"/>
                    </a:moveTo>
                    <a:lnTo>
                      <a:pt x="22860" y="54293"/>
                    </a:lnTo>
                    <a:lnTo>
                      <a:pt x="22860" y="23813"/>
                    </a:lnTo>
                    <a:lnTo>
                      <a:pt x="53340" y="23813"/>
                    </a:lnTo>
                    <a:lnTo>
                      <a:pt x="53340" y="54293"/>
                    </a:lnTo>
                    <a:close/>
                  </a:path>
                </a:pathLst>
              </a:custGeom>
              <a:grpFill/>
              <a:ln w="9525" cap="flat">
                <a:noFill/>
                <a:prstDash val="solid"/>
                <a:miter/>
              </a:ln>
            </p:spPr>
            <p:txBody>
              <a:bodyPr rtlCol="0" anchor="ctr"/>
              <a:lstStyle/>
              <a:p>
                <a:endParaRPr lang="en-US"/>
              </a:p>
            </p:txBody>
          </p:sp>
        </p:grpSp>
      </p:grpSp>
      <p:pic>
        <p:nvPicPr>
          <p:cNvPr id="13" name="Picture 12">
            <a:extLst>
              <a:ext uri="{FF2B5EF4-FFF2-40B4-BE49-F238E27FC236}">
                <a16:creationId xmlns:a16="http://schemas.microsoft.com/office/drawing/2014/main" id="{DA1AE947-A1C0-E223-1C6F-A7B2882469F2}"/>
              </a:ext>
            </a:extLst>
          </p:cNvPr>
          <p:cNvPicPr>
            <a:picLocks noChangeAspect="1"/>
          </p:cNvPicPr>
          <p:nvPr/>
        </p:nvPicPr>
        <p:blipFill>
          <a:blip r:embed="rId4"/>
          <a:stretch>
            <a:fillRect/>
          </a:stretch>
        </p:blipFill>
        <p:spPr>
          <a:xfrm>
            <a:off x="1031523" y="1657720"/>
            <a:ext cx="3169150" cy="4115388"/>
          </a:xfrm>
          <a:prstGeom prst="rect">
            <a:avLst/>
          </a:prstGeom>
          <a:ln>
            <a:solidFill>
              <a:schemeClr val="tx1"/>
            </a:solidFill>
          </a:ln>
        </p:spPr>
      </p:pic>
    </p:spTree>
    <p:extLst>
      <p:ext uri="{BB962C8B-B14F-4D97-AF65-F5344CB8AC3E}">
        <p14:creationId xmlns:p14="http://schemas.microsoft.com/office/powerpoint/2010/main" val="262985329"/>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1A2EF5DE-5B86-AA76-593C-D000F05EEBED}"/>
              </a:ext>
            </a:extLst>
          </p:cNvPr>
          <p:cNvSpPr>
            <a:spLocks noChangeAspect="1"/>
          </p:cNvSpPr>
          <p:nvPr/>
        </p:nvSpPr>
        <p:spPr bwMode="auto">
          <a:xfrm>
            <a:off x="-786383" y="2631224"/>
            <a:ext cx="3657600" cy="3657600"/>
          </a:xfrm>
          <a:prstGeom prst="ellipse">
            <a:avLst/>
          </a:prstGeom>
          <a:gradFill flip="none" rotWithShape="1">
            <a:gsLst>
              <a:gs pos="56000">
                <a:schemeClr val="bg1">
                  <a:alpha val="0"/>
                </a:schemeClr>
              </a:gs>
              <a:gs pos="99000">
                <a:schemeClr val="bg1"/>
              </a:gs>
            </a:gsLst>
            <a:path path="circle">
              <a:fillToRect l="50000" t="50000" r="50000" b="50000"/>
            </a:path>
            <a:tileRect/>
          </a:gradFill>
          <a:ln w="9525" cap="flat" cmpd="sng" algn="ctr">
            <a:solidFill>
              <a:schemeClr val="bg1">
                <a:alpha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23E48"/>
              </a:solidFill>
              <a:effectLst/>
              <a:uLnTx/>
              <a:uFillTx/>
              <a:latin typeface="Times New Roman" pitchFamily="18" charset="0"/>
              <a:ea typeface="+mn-ea"/>
              <a:cs typeface="+mn-cs"/>
            </a:endParaRPr>
          </a:p>
        </p:txBody>
      </p:sp>
      <p:cxnSp>
        <p:nvCxnSpPr>
          <p:cNvPr id="14" name="Straight Connector 13">
            <a:extLst>
              <a:ext uri="{FF2B5EF4-FFF2-40B4-BE49-F238E27FC236}">
                <a16:creationId xmlns:a16="http://schemas.microsoft.com/office/drawing/2014/main" id="{24E1C71D-C0E5-41B5-7CAB-D3DA7FE410D2}"/>
              </a:ext>
            </a:extLst>
          </p:cNvPr>
          <p:cNvCxnSpPr>
            <a:cxnSpLocks/>
          </p:cNvCxnSpPr>
          <p:nvPr/>
        </p:nvCxnSpPr>
        <p:spPr>
          <a:xfrm>
            <a:off x="-1253115" y="2712750"/>
            <a:ext cx="5177928" cy="0"/>
          </a:xfrm>
          <a:prstGeom prst="line">
            <a:avLst/>
          </a:prstGeom>
          <a:noFill/>
          <a:ln w="12700">
            <a:solidFill>
              <a:srgbClr val="00A6E0"/>
            </a:solidFill>
            <a:headEnd type="none" w="med" len="med"/>
            <a:tailEnd type="oval" w="med" len="med"/>
          </a:ln>
        </p:spPr>
        <p:style>
          <a:lnRef idx="2">
            <a:schemeClr val="accent1">
              <a:shade val="15000"/>
            </a:schemeClr>
          </a:lnRef>
          <a:fillRef idx="1">
            <a:schemeClr val="accent1"/>
          </a:fillRef>
          <a:effectRef idx="0">
            <a:schemeClr val="accent1"/>
          </a:effectRef>
          <a:fontRef idx="minor">
            <a:schemeClr val="lt1"/>
          </a:fontRef>
        </p:style>
      </p:cxnSp>
      <p:sp>
        <p:nvSpPr>
          <p:cNvPr id="15" name="TextBox 14">
            <a:extLst>
              <a:ext uri="{FF2B5EF4-FFF2-40B4-BE49-F238E27FC236}">
                <a16:creationId xmlns:a16="http://schemas.microsoft.com/office/drawing/2014/main" id="{39048D6A-76B5-956B-42D1-9CDDD37494CF}"/>
              </a:ext>
            </a:extLst>
          </p:cNvPr>
          <p:cNvSpPr txBox="1"/>
          <p:nvPr/>
        </p:nvSpPr>
        <p:spPr>
          <a:xfrm>
            <a:off x="849160" y="2447685"/>
            <a:ext cx="2456515" cy="476071"/>
          </a:xfrm>
          <a:prstGeom prst="roundRect">
            <a:avLst>
              <a:gd name="adj" fmla="val 50000"/>
            </a:avLst>
          </a:prstGeom>
          <a:solidFill>
            <a:srgbClr val="00D9FF"/>
          </a:solidFill>
          <a:ln w="19050">
            <a:noFill/>
          </a:ln>
          <a:effectLst/>
        </p:spPr>
        <p:txBody>
          <a:bodyPr wrap="square" rtlCol="0">
            <a:spAutoFit/>
          </a:bodyPr>
          <a:lstStyle/>
          <a:p>
            <a:pPr marL="0" marR="0" lvl="0" indent="0" algn="ctr" defTabSz="711200" rtl="0" eaLnBrk="1" fontAlgn="auto" latinLnBrk="0" hangingPunct="1">
              <a:lnSpc>
                <a:spcPct val="100000"/>
              </a:lnSpc>
              <a:spcBef>
                <a:spcPct val="0"/>
              </a:spcBef>
              <a:spcAft>
                <a:spcPts val="800"/>
              </a:spcAft>
              <a:buClrTx/>
              <a:buSzTx/>
              <a:buFontTx/>
              <a:buNone/>
              <a:tabLst/>
              <a:defRPr/>
            </a:pPr>
            <a:r>
              <a:rPr kumimoji="0" lang="en-US" sz="1600" b="1" i="0" u="none" strike="noStrike" kern="1200" cap="none" spc="50" normalizeH="0" baseline="0" noProof="0" dirty="0">
                <a:ln>
                  <a:noFill/>
                </a:ln>
                <a:solidFill>
                  <a:prstClr val="white"/>
                </a:solidFill>
                <a:effectLst/>
                <a:uLnTx/>
                <a:uFillTx/>
                <a:latin typeface="Arial"/>
                <a:ea typeface="+mn-ea"/>
                <a:cs typeface="Arial"/>
              </a:rPr>
              <a:t>Agenda</a:t>
            </a:r>
            <a:endParaRPr kumimoji="0" lang="en-US" sz="1600" b="0" i="0" u="none" strike="noStrike" kern="1200" cap="none" spc="50" normalizeH="0" baseline="0" noProof="0" dirty="0">
              <a:ln>
                <a:noFill/>
              </a:ln>
              <a:solidFill>
                <a:prstClr val="white"/>
              </a:solidFill>
              <a:effectLst/>
              <a:uLnTx/>
              <a:uFillTx/>
              <a:latin typeface="Arial"/>
              <a:ea typeface="+mn-ea"/>
              <a:cs typeface="Arial"/>
            </a:endParaRPr>
          </a:p>
        </p:txBody>
      </p:sp>
      <p:sp>
        <p:nvSpPr>
          <p:cNvPr id="18" name="TextBox 17">
            <a:extLst>
              <a:ext uri="{FF2B5EF4-FFF2-40B4-BE49-F238E27FC236}">
                <a16:creationId xmlns:a16="http://schemas.microsoft.com/office/drawing/2014/main" id="{4F26DF7B-62EB-ACCE-932A-312A120C94A2}"/>
              </a:ext>
            </a:extLst>
          </p:cNvPr>
          <p:cNvSpPr txBox="1"/>
          <p:nvPr/>
        </p:nvSpPr>
        <p:spPr>
          <a:xfrm>
            <a:off x="4597633" y="2147672"/>
            <a:ext cx="7183903" cy="3013133"/>
          </a:xfrm>
          <a:prstGeom prst="rect">
            <a:avLst/>
          </a:prstGeom>
          <a:noFill/>
        </p:spPr>
        <p:txBody>
          <a:bodyPr wrap="square">
            <a:spAutoFit/>
          </a:bodyPr>
          <a:lstStyle/>
          <a:p>
            <a:pPr marL="68263" marR="0" lvl="0" indent="-68263" algn="l" defTabSz="914400" rtl="0" eaLnBrk="1" fontAlgn="auto" latinLnBrk="0" hangingPunct="1">
              <a:lnSpc>
                <a:spcPct val="115000"/>
              </a:lnSpc>
              <a:spcBef>
                <a:spcPts val="0"/>
              </a:spcBef>
              <a:spcAft>
                <a:spcPts val="1800"/>
              </a:spcAft>
              <a:buClrTx/>
              <a:buSzTx/>
              <a:buFontTx/>
              <a:buNone/>
              <a:tabLst>
                <a:tab pos="678180" algn="l"/>
              </a:tabLst>
              <a:defRPr/>
            </a:pPr>
            <a:r>
              <a:rPr kumimoji="0" lang="en-US" sz="3200" b="1" i="0" u="none" strike="noStrike" cap="none" noProof="0" dirty="0">
                <a:ln>
                  <a:noFill/>
                </a:ln>
                <a:solidFill>
                  <a:srgbClr val="00D9FF"/>
                </a:solidFill>
                <a:effectLst/>
                <a:uLnTx/>
                <a:uFillTx/>
                <a:latin typeface="+mj-lt"/>
                <a:ea typeface="Times New Roman" panose="02020603050405020304" pitchFamily="18" charset="0"/>
                <a:cs typeface="Times New Roman" panose="02020603050405020304" pitchFamily="18" charset="0"/>
              </a:rPr>
              <a:t>What We’ll Cover</a:t>
            </a:r>
            <a:endParaRPr lang="en-US" sz="3200" dirty="0">
              <a:solidFill>
                <a:srgbClr val="00D9FF"/>
              </a:solidFill>
              <a:latin typeface="+mj-lt"/>
            </a:endParaRPr>
          </a:p>
          <a:p>
            <a:pPr marL="342900" indent="-342900" algn="l">
              <a:spcAft>
                <a:spcPts val="1200"/>
              </a:spcAft>
              <a:buFont typeface="Arial" panose="020B0604020202020204" pitchFamily="34" charset="0"/>
              <a:buChar char="•"/>
            </a:pPr>
            <a:r>
              <a:rPr lang="en-US" dirty="0">
                <a:solidFill>
                  <a:schemeClr val="bg1"/>
                </a:solidFill>
              </a:rPr>
              <a:t>Obstacles impacting healthcare innovation and progress</a:t>
            </a:r>
          </a:p>
          <a:p>
            <a:pPr marL="342900" indent="-342900" algn="l">
              <a:spcAft>
                <a:spcPts val="1200"/>
              </a:spcAft>
              <a:buFont typeface="Arial" panose="020B0604020202020204" pitchFamily="34" charset="0"/>
              <a:buChar char="•"/>
            </a:pPr>
            <a:r>
              <a:rPr lang="en-US" dirty="0">
                <a:solidFill>
                  <a:schemeClr val="bg1"/>
                </a:solidFill>
              </a:rPr>
              <a:t>Opportunities to solve core administrative challenges </a:t>
            </a:r>
            <a:br>
              <a:rPr lang="en-US" dirty="0">
                <a:solidFill>
                  <a:schemeClr val="bg1"/>
                </a:solidFill>
              </a:rPr>
            </a:br>
            <a:r>
              <a:rPr lang="en-US" dirty="0">
                <a:solidFill>
                  <a:schemeClr val="bg1"/>
                </a:solidFill>
              </a:rPr>
              <a:t>hindering progress today</a:t>
            </a:r>
          </a:p>
          <a:p>
            <a:pPr marL="342900" indent="-342900" algn="l">
              <a:spcAft>
                <a:spcPts val="1200"/>
              </a:spcAft>
              <a:buFont typeface="Arial" panose="020B0604020202020204" pitchFamily="34" charset="0"/>
              <a:buChar char="•"/>
            </a:pPr>
            <a:r>
              <a:rPr lang="en-US" dirty="0">
                <a:solidFill>
                  <a:schemeClr val="bg1"/>
                </a:solidFill>
              </a:rPr>
              <a:t>New and evolving innovations that can drive greater enhancements in key areas like data quality and interoperability</a:t>
            </a:r>
          </a:p>
          <a:p>
            <a:pPr marL="342900" indent="-342900" algn="l">
              <a:spcAft>
                <a:spcPts val="1200"/>
              </a:spcAft>
              <a:buFont typeface="Arial" panose="020B0604020202020204" pitchFamily="34" charset="0"/>
              <a:buChar char="•"/>
            </a:pPr>
            <a:r>
              <a:rPr lang="en-US" dirty="0">
                <a:solidFill>
                  <a:schemeClr val="bg1"/>
                </a:solidFill>
              </a:rPr>
              <a:t>Q&amp;A</a:t>
            </a:r>
            <a:endParaRPr kumimoji="0" lang="en-US" i="0" u="none" strike="noStrike" kern="0" cap="none" spc="0" normalizeH="0" baseline="0" noProof="0" dirty="0">
              <a:ln>
                <a:noFill/>
              </a:ln>
              <a:solidFill>
                <a:schemeClr val="bg1"/>
              </a:solidFill>
              <a:effectLst/>
              <a:uLnTx/>
              <a:uFillTx/>
              <a:ea typeface="Times New Roman" panose="02020603050405020304" pitchFamily="18" charset="0"/>
              <a:cs typeface="Times New Roman" panose="02020603050405020304" pitchFamily="18" charset="0"/>
            </a:endParaRPr>
          </a:p>
        </p:txBody>
      </p:sp>
      <p:pic>
        <p:nvPicPr>
          <p:cNvPr id="19" name="Picture 6">
            <a:extLst>
              <a:ext uri="{FF2B5EF4-FFF2-40B4-BE49-F238E27FC236}">
                <a16:creationId xmlns:a16="http://schemas.microsoft.com/office/drawing/2014/main" id="{8B244E26-3E81-814F-0CD9-D6270152FCAE}"/>
              </a:ext>
            </a:extLst>
          </p:cNvPr>
          <p:cNvPicPr>
            <a:picLocks noChangeAspect="1" noChangeArrowheads="1"/>
          </p:cNvPicPr>
          <p:nvPr/>
        </p:nvPicPr>
        <p:blipFill rotWithShape="1">
          <a:blip r:embed="rId2"/>
          <a:srcRect l="15219" r="18024"/>
          <a:stretch/>
        </p:blipFill>
        <p:spPr bwMode="auto">
          <a:xfrm>
            <a:off x="-410463" y="3025293"/>
            <a:ext cx="2926080" cy="2926080"/>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E1AA6F9-DDCF-B41F-5A26-87C76AE2C10E}"/>
              </a:ext>
            </a:extLst>
          </p:cNvPr>
          <p:cNvSpPr txBox="1"/>
          <p:nvPr/>
        </p:nvSpPr>
        <p:spPr>
          <a:xfrm>
            <a:off x="310718" y="1698330"/>
            <a:ext cx="3912798" cy="898685"/>
          </a:xfrm>
          <a:prstGeom prst="rect">
            <a:avLst/>
          </a:prstGeom>
          <a:noFill/>
        </p:spPr>
        <p:txBody>
          <a:bodyPr vert="horz" wrap="square" lIns="0" tIns="0" rIns="0" bIns="0" rtlCol="0" anchor="t">
            <a:noAutofit/>
          </a:bodyPr>
          <a:lstStyle>
            <a:lvl1pPr lvl="0" indent="0">
              <a:lnSpc>
                <a:spcPct val="90000"/>
              </a:lnSpc>
              <a:spcBef>
                <a:spcPts val="1800"/>
              </a:spcBef>
              <a:buClr>
                <a:schemeClr val="accent4"/>
              </a:buClr>
              <a:buFont typeface="Arial" panose="020B0604020202020204" pitchFamily="34" charset="0"/>
              <a:buNone/>
              <a:defRPr sz="1125" b="1" spc="375">
                <a:solidFill>
                  <a:schemeClr val="accent2"/>
                </a:solidFill>
                <a:latin typeface="Arial" panose="020B0604020202020204" pitchFamily="34" charset="0"/>
                <a:ea typeface="Roboto Medium" panose="02000000000000000000" pitchFamily="2" charset="0"/>
                <a:cs typeface="Arial" panose="020B0604020202020204" pitchFamily="34" charset="0"/>
              </a:defRPr>
            </a:lvl1pPr>
            <a:lvl2pPr marL="439738" indent="-236538">
              <a:lnSpc>
                <a:spcPct val="90000"/>
              </a:lnSpc>
              <a:spcBef>
                <a:spcPts val="800"/>
              </a:spcBef>
              <a:buClr>
                <a:schemeClr val="accent4"/>
              </a:buClr>
              <a:buFont typeface="Arial" panose="020B0604020202020204" pitchFamily="34" charset="0"/>
              <a:buChar char="•"/>
              <a:defRPr sz="1600"/>
            </a:lvl2pPr>
            <a:lvl3pPr marL="654050" indent="-225425">
              <a:lnSpc>
                <a:spcPct val="90000"/>
              </a:lnSpc>
              <a:spcBef>
                <a:spcPts val="800"/>
              </a:spcBef>
              <a:buClr>
                <a:schemeClr val="accent4"/>
              </a:buClr>
              <a:buFont typeface="Arial" panose="020B0604020202020204" pitchFamily="34" charset="0"/>
              <a:buChar char="•"/>
              <a:defRPr sz="1400"/>
            </a:lvl3pPr>
            <a:lvl4pPr marL="857250" indent="-225425">
              <a:lnSpc>
                <a:spcPct val="90000"/>
              </a:lnSpc>
              <a:spcBef>
                <a:spcPts val="800"/>
              </a:spcBef>
              <a:buClr>
                <a:schemeClr val="accent4"/>
              </a:buClr>
              <a:buFont typeface="Arial" panose="020B0604020202020204" pitchFamily="34" charset="0"/>
              <a:buChar char="•"/>
              <a:defRPr sz="1200"/>
            </a:lvl4pPr>
            <a:lvl5pPr marL="1027113" indent="-169863">
              <a:lnSpc>
                <a:spcPct val="90000"/>
              </a:lnSpc>
              <a:spcBef>
                <a:spcPts val="800"/>
              </a:spcBef>
              <a:buClr>
                <a:schemeClr val="accent4"/>
              </a:buClr>
              <a:buFont typeface="Arial" panose="020B0604020202020204" pitchFamily="34" charset="0"/>
              <a:buChar char="•"/>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200"/>
              </a:spcBef>
              <a:spcAft>
                <a:spcPts val="0"/>
              </a:spcAft>
              <a:buClr>
                <a:srgbClr val="0072CD"/>
              </a:buClr>
              <a:buSzTx/>
              <a:buFont typeface="Arial" panose="020B0604020202020204" pitchFamily="34" charset="0"/>
              <a:buNone/>
              <a:tabLst/>
              <a:defRPr/>
            </a:pPr>
            <a:r>
              <a:rPr lang="en-US" sz="1400" spc="300" dirty="0">
                <a:solidFill>
                  <a:srgbClr val="00D9FF"/>
                </a:solidFill>
              </a:rPr>
              <a:t>MASTERING THE SIMPLE STUFF: ADDRESSING CHALLENGES IN HEALTHCARE INNOVATION</a:t>
            </a:r>
            <a:endParaRPr kumimoji="0" lang="en-US" sz="1400" b="1" i="0" u="none" strike="noStrike" kern="1200" cap="none" spc="300" normalizeH="0" baseline="0" noProof="0" dirty="0">
              <a:ln>
                <a:noFill/>
              </a:ln>
              <a:solidFill>
                <a:srgbClr val="00D9FF"/>
              </a:solidFill>
              <a:effectLst/>
              <a:uLnTx/>
              <a:uFillTx/>
              <a:latin typeface="Arial" panose="020B0604020202020204" pitchFamily="34" charset="0"/>
              <a:ea typeface="Roboto Medium" panose="02000000000000000000" pitchFamily="2" charset="0"/>
              <a:cs typeface="Arial" panose="020B0604020202020204" pitchFamily="34" charset="0"/>
            </a:endParaRPr>
          </a:p>
        </p:txBody>
      </p:sp>
      <p:sp>
        <p:nvSpPr>
          <p:cNvPr id="3" name="Oval 2">
            <a:extLst>
              <a:ext uri="{FF2B5EF4-FFF2-40B4-BE49-F238E27FC236}">
                <a16:creationId xmlns:a16="http://schemas.microsoft.com/office/drawing/2014/main" id="{4E55B764-A76F-D58B-F5C5-87FF4868CB59}"/>
              </a:ext>
            </a:extLst>
          </p:cNvPr>
          <p:cNvSpPr/>
          <p:nvPr/>
        </p:nvSpPr>
        <p:spPr>
          <a:xfrm>
            <a:off x="-410463" y="3025293"/>
            <a:ext cx="2926080" cy="2926080"/>
          </a:xfrm>
          <a:prstGeom prst="ellipse">
            <a:avLst/>
          </a:prstGeom>
          <a:gradFill>
            <a:gsLst>
              <a:gs pos="0">
                <a:schemeClr val="accent4">
                  <a:alpha val="35000"/>
                </a:schemeClr>
              </a:gs>
              <a:gs pos="100000">
                <a:schemeClr val="accent1">
                  <a:alpha val="18000"/>
                </a:schemeClr>
              </a:gs>
            </a:gsLst>
            <a:lin ang="2700000" scaled="0"/>
          </a:gradFill>
          <a:ln w="12700">
            <a:gradFill>
              <a:gsLst>
                <a:gs pos="35000">
                  <a:schemeClr val="accent4">
                    <a:alpha val="42000"/>
                  </a:schemeClr>
                </a:gs>
                <a:gs pos="100000">
                  <a:schemeClr val="accent1">
                    <a:alpha val="21000"/>
                  </a:schemeClr>
                </a:gs>
              </a:gsLst>
              <a:lin ang="5400000" scaled="1"/>
            </a:gra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68027633"/>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E20C703-339C-D7BD-4D41-FA9E4BAE5AF8}"/>
              </a:ext>
            </a:extLst>
          </p:cNvPr>
          <p:cNvGrpSpPr/>
          <p:nvPr/>
        </p:nvGrpSpPr>
        <p:grpSpPr>
          <a:xfrm>
            <a:off x="1089390" y="2130391"/>
            <a:ext cx="1931057" cy="2159976"/>
            <a:chOff x="1089390" y="2521010"/>
            <a:chExt cx="1931057" cy="2159976"/>
          </a:xfrm>
        </p:grpSpPr>
        <p:sp>
          <p:nvSpPr>
            <p:cNvPr id="10" name="Hexagon 9">
              <a:extLst>
                <a:ext uri="{FF2B5EF4-FFF2-40B4-BE49-F238E27FC236}">
                  <a16:creationId xmlns:a16="http://schemas.microsoft.com/office/drawing/2014/main" id="{28EF121C-89F5-95BD-2950-ABFD7D8663D1}"/>
                </a:ext>
              </a:extLst>
            </p:cNvPr>
            <p:cNvSpPr/>
            <p:nvPr/>
          </p:nvSpPr>
          <p:spPr>
            <a:xfrm rot="5400000">
              <a:off x="974930" y="2669974"/>
              <a:ext cx="2159976" cy="1862048"/>
            </a:xfrm>
            <a:prstGeom prst="hexagon">
              <a:avLst/>
            </a:prstGeom>
            <a:gradFill>
              <a:gsLst>
                <a:gs pos="40000">
                  <a:schemeClr val="bg1"/>
                </a:gs>
                <a:gs pos="78000">
                  <a:schemeClr val="accent2">
                    <a:lumMod val="20000"/>
                    <a:lumOff val="80000"/>
                  </a:schemeClr>
                </a:gs>
                <a:gs pos="100000">
                  <a:schemeClr val="accent2"/>
                </a:gs>
              </a:gsLst>
              <a:lin ang="21594000" scaled="0"/>
            </a:gradFill>
            <a:ln>
              <a:noFill/>
            </a:ln>
            <a:effectLst>
              <a:outerShdw blurRad="190500" dist="635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extBox 10">
              <a:extLst>
                <a:ext uri="{FF2B5EF4-FFF2-40B4-BE49-F238E27FC236}">
                  <a16:creationId xmlns:a16="http://schemas.microsoft.com/office/drawing/2014/main" id="{99E63CD0-6AF3-B882-BCAD-C0D1D727CF60}"/>
                </a:ext>
              </a:extLst>
            </p:cNvPr>
            <p:cNvSpPr txBox="1"/>
            <p:nvPr/>
          </p:nvSpPr>
          <p:spPr>
            <a:xfrm>
              <a:off x="1089390" y="3107305"/>
              <a:ext cx="1931057" cy="923330"/>
            </a:xfrm>
            <a:prstGeom prst="rect">
              <a:avLst/>
            </a:prstGeom>
            <a:noFill/>
            <a:effectLst>
              <a:outerShdw blurRad="50800" dist="50800" dir="5400000" algn="ctr" rotWithShape="0">
                <a:schemeClr val="accent2">
                  <a:lumMod val="20000"/>
                  <a:lumOff val="80000"/>
                </a:schemeClr>
              </a:outerShdw>
            </a:effectLst>
          </p:spPr>
          <p:txBody>
            <a:bodyPr wrap="square"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5400" b="1" i="0" u="none" strike="noStrike" kern="1200" cap="none" spc="-300" normalizeH="0" baseline="0" noProof="0" dirty="0">
                  <a:ln>
                    <a:noFill/>
                  </a:ln>
                  <a:gradFill>
                    <a:gsLst>
                      <a:gs pos="0">
                        <a:srgbClr val="00D9FF"/>
                      </a:gs>
                      <a:gs pos="50000">
                        <a:srgbClr val="00A6E0"/>
                      </a:gs>
                      <a:gs pos="99000">
                        <a:srgbClr val="0072CD"/>
                      </a:gs>
                    </a:gsLst>
                    <a:lin ang="5536656" scaled="1"/>
                  </a:gradFill>
                  <a:effectLst>
                    <a:outerShdw blurRad="482600" dist="50800" algn="ctr" rotWithShape="0">
                      <a:srgbClr val="000000">
                        <a:alpha val="40000"/>
                      </a:srgbClr>
                    </a:outerShdw>
                  </a:effectLst>
                  <a:uLnTx/>
                  <a:uFillTx/>
                  <a:latin typeface="Arial" panose="020B0604020202020204" pitchFamily="34" charset="0"/>
                  <a:ea typeface="+mn-ea"/>
                  <a:cs typeface="Arial" panose="020B0604020202020204" pitchFamily="34" charset="0"/>
                </a:rPr>
                <a:t>$4.5T</a:t>
              </a:r>
            </a:p>
          </p:txBody>
        </p:sp>
      </p:grpSp>
      <p:sp>
        <p:nvSpPr>
          <p:cNvPr id="14" name="Google Shape;22;p1">
            <a:extLst>
              <a:ext uri="{FF2B5EF4-FFF2-40B4-BE49-F238E27FC236}">
                <a16:creationId xmlns:a16="http://schemas.microsoft.com/office/drawing/2014/main" id="{1376D050-C72B-28CB-9B23-9AF39DB08B7E}"/>
              </a:ext>
            </a:extLst>
          </p:cNvPr>
          <p:cNvSpPr txBox="1"/>
          <p:nvPr/>
        </p:nvSpPr>
        <p:spPr>
          <a:xfrm>
            <a:off x="750929" y="4444164"/>
            <a:ext cx="2607744" cy="547458"/>
          </a:xfrm>
          <a:prstGeom prst="rect">
            <a:avLst/>
          </a:prstGeom>
        </p:spPr>
        <p:txBody>
          <a:bodyPr wrap="square" lIns="0" tIns="0" rIns="0" bIns="0">
            <a:noAutofit/>
          </a:bodyPr>
          <a:lstStyle>
            <a:defPPr>
              <a:defRPr lang="en-US"/>
            </a:defPPr>
            <a:lvl1pPr>
              <a:lnSpc>
                <a:spcPct val="130000"/>
              </a:lnSpc>
              <a:defRPr sz="1200">
                <a:solidFill>
                  <a:schemeClr val="tx1">
                    <a:lumMod val="50000"/>
                    <a:lumOff val="50000"/>
                  </a:schemeClr>
                </a:solidFill>
                <a:ea typeface="Open Sans Light" panose="020B0306030504020204"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t>US healthcare </a:t>
            </a:r>
            <a:b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br>
            <a: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t>expenditures in 2022</a:t>
            </a:r>
            <a:r>
              <a:rPr kumimoji="0" lang="en-US" sz="1400" b="0" i="0" u="none" strike="noStrike" kern="1200" cap="none" spc="0" normalizeH="0" baseline="46000" noProof="0" dirty="0">
                <a:ln>
                  <a:noFill/>
                </a:ln>
                <a:solidFill>
                  <a:prstClr val="white"/>
                </a:solidFill>
                <a:effectLst/>
                <a:uLnTx/>
                <a:uFillTx/>
                <a:latin typeface="Arial"/>
                <a:ea typeface="Open Sans Light" panose="020B0306030504020204" pitchFamily="34" charset="0"/>
                <a:cs typeface="Arial"/>
              </a:rPr>
              <a:t>2</a:t>
            </a:r>
            <a:endParaRPr kumimoji="0" lang="en-US" sz="1600" b="0" i="0" u="none" strike="noStrike" kern="1200" cap="none" spc="0" normalizeH="0" baseline="46000" noProof="0" dirty="0">
              <a:ln>
                <a:noFill/>
              </a:ln>
              <a:solidFill>
                <a:prstClr val="white"/>
              </a:solidFill>
              <a:effectLst/>
              <a:uLnTx/>
              <a:uFillTx/>
              <a:latin typeface="Arial"/>
              <a:ea typeface="Open Sans Light" panose="020B0306030504020204" pitchFamily="34" charset="0"/>
              <a:cs typeface="Arial"/>
            </a:endParaRPr>
          </a:p>
        </p:txBody>
      </p:sp>
      <p:grpSp>
        <p:nvGrpSpPr>
          <p:cNvPr id="7" name="Group 6">
            <a:extLst>
              <a:ext uri="{FF2B5EF4-FFF2-40B4-BE49-F238E27FC236}">
                <a16:creationId xmlns:a16="http://schemas.microsoft.com/office/drawing/2014/main" id="{7819B8EE-A7E2-547E-1C96-95122090E21B}"/>
              </a:ext>
            </a:extLst>
          </p:cNvPr>
          <p:cNvGrpSpPr/>
          <p:nvPr/>
        </p:nvGrpSpPr>
        <p:grpSpPr>
          <a:xfrm>
            <a:off x="3879564" y="2120766"/>
            <a:ext cx="1931057" cy="2159976"/>
            <a:chOff x="3756104" y="2511385"/>
            <a:chExt cx="1931057" cy="2159976"/>
          </a:xfrm>
        </p:grpSpPr>
        <p:sp>
          <p:nvSpPr>
            <p:cNvPr id="8" name="Hexagon 7">
              <a:extLst>
                <a:ext uri="{FF2B5EF4-FFF2-40B4-BE49-F238E27FC236}">
                  <a16:creationId xmlns:a16="http://schemas.microsoft.com/office/drawing/2014/main" id="{762404C5-F8B6-31D1-5AA1-832DD95C498B}"/>
                </a:ext>
              </a:extLst>
            </p:cNvPr>
            <p:cNvSpPr/>
            <p:nvPr/>
          </p:nvSpPr>
          <p:spPr>
            <a:xfrm rot="5400000">
              <a:off x="3641646" y="2660349"/>
              <a:ext cx="2159976" cy="1862048"/>
            </a:xfrm>
            <a:prstGeom prst="hexagon">
              <a:avLst/>
            </a:prstGeom>
            <a:gradFill>
              <a:gsLst>
                <a:gs pos="80000">
                  <a:schemeClr val="bg1"/>
                </a:gs>
                <a:gs pos="100000">
                  <a:srgbClr val="4A5BB6"/>
                </a:gs>
              </a:gsLst>
              <a:lin ang="21594000" scaled="0"/>
            </a:gradFill>
            <a:ln>
              <a:noFill/>
            </a:ln>
            <a:effectLst>
              <a:outerShdw blurRad="190500" dist="635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12B3149C-CD29-B5D7-CD5A-7AD50DD7E945}"/>
                </a:ext>
              </a:extLst>
            </p:cNvPr>
            <p:cNvSpPr txBox="1"/>
            <p:nvPr/>
          </p:nvSpPr>
          <p:spPr>
            <a:xfrm>
              <a:off x="3756104" y="3161927"/>
              <a:ext cx="1931057" cy="923330"/>
            </a:xfrm>
            <a:prstGeom prst="rect">
              <a:avLst/>
            </a:prstGeom>
            <a:noFill/>
            <a:effectLst>
              <a:outerShdw blurRad="50800" dist="50800" dir="5400000" algn="ctr" rotWithShape="0">
                <a:schemeClr val="accent3">
                  <a:lumMod val="20000"/>
                  <a:lumOff val="80000"/>
                </a:schemeClr>
              </a:outerShdw>
            </a:effectLst>
          </p:spPr>
          <p:txBody>
            <a:bodyPr wrap="square" rtlCol="0">
              <a:spAutoFit/>
            </a:bodyPr>
            <a:lstStyle>
              <a:defPPr>
                <a:defRPr lang="en-US"/>
              </a:defPPr>
              <a:lvl1pPr algn="ctr">
                <a:defRPr sz="11500" b="1">
                  <a:gradFill>
                    <a:gsLst>
                      <a:gs pos="0">
                        <a:srgbClr val="00D9FF"/>
                      </a:gs>
                      <a:gs pos="50000">
                        <a:schemeClr val="accent2"/>
                      </a:gs>
                      <a:gs pos="99000">
                        <a:schemeClr val="accent4"/>
                      </a:gs>
                    </a:gsLst>
                    <a:lin ang="5536656" scaled="1"/>
                  </a:gradFill>
                  <a:effectLst>
                    <a:outerShdw blurRad="482600" dist="50800" algn="ctr" rotWithShape="0">
                      <a:srgbClr val="000000">
                        <a:alpha val="40000"/>
                      </a:srgbClr>
                    </a:outerShdw>
                  </a:effectLst>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5400" b="1" i="0" u="none" strike="noStrike" kern="1200" cap="none" spc="-600" normalizeH="0" baseline="0" noProof="0" dirty="0">
                  <a:ln>
                    <a:noFill/>
                  </a:ln>
                  <a:gradFill>
                    <a:gsLst>
                      <a:gs pos="0">
                        <a:srgbClr val="8291FF"/>
                      </a:gs>
                      <a:gs pos="50000">
                        <a:srgbClr val="4A5BB6"/>
                      </a:gs>
                      <a:gs pos="99000">
                        <a:srgbClr val="22305B"/>
                      </a:gs>
                    </a:gsLst>
                    <a:lin ang="5536656" scaled="1"/>
                  </a:gradFill>
                  <a:effectLst>
                    <a:outerShdw blurRad="482600" dist="50800" algn="ctr" rotWithShape="0">
                      <a:srgbClr val="000000">
                        <a:alpha val="40000"/>
                      </a:srgbClr>
                    </a:outerShdw>
                  </a:effectLst>
                  <a:uLnTx/>
                  <a:uFillTx/>
                  <a:latin typeface="Arial" panose="020B0604020202020204" pitchFamily="34" charset="0"/>
                  <a:ea typeface="+mn-ea"/>
                  <a:cs typeface="Arial" panose="020B0604020202020204" pitchFamily="34" charset="0"/>
                </a:rPr>
                <a:t>17</a:t>
              </a:r>
              <a:r>
                <a:rPr kumimoji="0" lang="en-US" sz="5400" b="1" i="0" u="none" strike="noStrike" kern="1200" cap="none" spc="-300" normalizeH="0" baseline="0" noProof="0" dirty="0">
                  <a:ln>
                    <a:noFill/>
                  </a:ln>
                  <a:gradFill>
                    <a:gsLst>
                      <a:gs pos="0">
                        <a:srgbClr val="8291FF"/>
                      </a:gs>
                      <a:gs pos="50000">
                        <a:srgbClr val="4A5BB6"/>
                      </a:gs>
                      <a:gs pos="99000">
                        <a:srgbClr val="22305B"/>
                      </a:gs>
                    </a:gsLst>
                    <a:lin ang="5536656" scaled="1"/>
                  </a:gradFill>
                  <a:effectLst>
                    <a:outerShdw blurRad="482600" dist="50800" algn="ctr" rotWithShape="0">
                      <a:srgbClr val="000000">
                        <a:alpha val="40000"/>
                      </a:srgbClr>
                    </a:outerShdw>
                  </a:effectLst>
                  <a:uLnTx/>
                  <a:uFillTx/>
                  <a:latin typeface="Arial" panose="020B0604020202020204" pitchFamily="34" charset="0"/>
                  <a:ea typeface="+mn-ea"/>
                  <a:cs typeface="Arial" panose="020B0604020202020204" pitchFamily="34" charset="0"/>
                </a:rPr>
                <a:t>.3</a:t>
              </a:r>
              <a:r>
                <a:rPr kumimoji="0" lang="en-US" sz="5400" b="1" i="0" u="none" strike="noStrike" kern="1200" cap="none" spc="-300" normalizeH="0" baseline="30000" noProof="0" dirty="0">
                  <a:ln>
                    <a:noFill/>
                  </a:ln>
                  <a:gradFill>
                    <a:gsLst>
                      <a:gs pos="0">
                        <a:srgbClr val="8291FF"/>
                      </a:gs>
                      <a:gs pos="50000">
                        <a:srgbClr val="4A5BB6"/>
                      </a:gs>
                      <a:gs pos="99000">
                        <a:srgbClr val="22305B"/>
                      </a:gs>
                    </a:gsLst>
                    <a:lin ang="5536656" scaled="1"/>
                  </a:gradFill>
                  <a:effectLst>
                    <a:outerShdw blurRad="482600" dist="50800" algn="ctr" rotWithShape="0">
                      <a:srgbClr val="000000">
                        <a:alpha val="40000"/>
                      </a:srgbClr>
                    </a:outerShdw>
                  </a:effectLst>
                  <a:uLnTx/>
                  <a:uFillTx/>
                  <a:latin typeface="Arial" panose="020B0604020202020204" pitchFamily="34" charset="0"/>
                  <a:ea typeface="+mn-ea"/>
                  <a:cs typeface="Arial" panose="020B0604020202020204" pitchFamily="34" charset="0"/>
                </a:rPr>
                <a:t>%</a:t>
              </a:r>
            </a:p>
          </p:txBody>
        </p:sp>
      </p:grpSp>
      <p:sp>
        <p:nvSpPr>
          <p:cNvPr id="16" name="Google Shape;22;p1">
            <a:extLst>
              <a:ext uri="{FF2B5EF4-FFF2-40B4-BE49-F238E27FC236}">
                <a16:creationId xmlns:a16="http://schemas.microsoft.com/office/drawing/2014/main" id="{9FF3CBDA-66F7-68B9-5267-9224B6855847}"/>
              </a:ext>
            </a:extLst>
          </p:cNvPr>
          <p:cNvSpPr txBox="1"/>
          <p:nvPr/>
        </p:nvSpPr>
        <p:spPr>
          <a:xfrm>
            <a:off x="3852773" y="4442016"/>
            <a:ext cx="1984641" cy="785280"/>
          </a:xfrm>
          <a:prstGeom prst="rect">
            <a:avLst/>
          </a:prstGeom>
        </p:spPr>
        <p:txBody>
          <a:bodyPr wrap="square" lIns="0" tIns="0" rIns="0" bIns="0">
            <a:noAutofit/>
          </a:bodyPr>
          <a:lstStyle>
            <a:defPPr>
              <a:defRPr lang="en-US"/>
            </a:defPPr>
            <a:lvl1pPr algn="ctr">
              <a:lnSpc>
                <a:spcPct val="130000"/>
              </a:lnSpc>
              <a:defRPr sz="1600">
                <a:solidFill>
                  <a:schemeClr val="bg1"/>
                </a:solidFill>
                <a:ea typeface="Open Sans Light" panose="020B0306030504020204" pitchFamily="34" charset="0"/>
                <a:cs typeface="Arial"/>
              </a:defRPr>
            </a:lvl1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t>of the Gross Domestic Product</a:t>
            </a:r>
            <a:r>
              <a:rPr lang="en-US" sz="1400" baseline="36000" dirty="0">
                <a:solidFill>
                  <a:prstClr val="white"/>
                </a:solidFill>
                <a:latin typeface="Arial"/>
              </a:rPr>
              <a:t>3</a:t>
            </a:r>
            <a:endParaRPr kumimoji="0" lang="en-US" sz="1600" b="0" i="0" u="none" strike="noStrike" kern="1200" cap="none" spc="0" normalizeH="0" baseline="36000" noProof="0" dirty="0">
              <a:ln>
                <a:noFill/>
              </a:ln>
              <a:solidFill>
                <a:prstClr val="white"/>
              </a:solidFill>
              <a:effectLst/>
              <a:uLnTx/>
              <a:uFillTx/>
              <a:latin typeface="Arial"/>
              <a:ea typeface="Open Sans Light" panose="020B0306030504020204" pitchFamily="34" charset="0"/>
              <a:cs typeface="Arial"/>
            </a:endParaRPr>
          </a:p>
        </p:txBody>
      </p:sp>
      <p:grpSp>
        <p:nvGrpSpPr>
          <p:cNvPr id="21" name="Group 20">
            <a:extLst>
              <a:ext uri="{FF2B5EF4-FFF2-40B4-BE49-F238E27FC236}">
                <a16:creationId xmlns:a16="http://schemas.microsoft.com/office/drawing/2014/main" id="{48B985A4-ABE7-DD6F-7A74-5BD3EDB1FFC0}"/>
              </a:ext>
            </a:extLst>
          </p:cNvPr>
          <p:cNvGrpSpPr/>
          <p:nvPr/>
        </p:nvGrpSpPr>
        <p:grpSpPr>
          <a:xfrm>
            <a:off x="6688383" y="2120766"/>
            <a:ext cx="1994125" cy="2159976"/>
            <a:chOff x="6501243" y="2511385"/>
            <a:chExt cx="1994125" cy="2159976"/>
          </a:xfrm>
        </p:grpSpPr>
        <p:sp>
          <p:nvSpPr>
            <p:cNvPr id="9" name="Hexagon 8">
              <a:extLst>
                <a:ext uri="{FF2B5EF4-FFF2-40B4-BE49-F238E27FC236}">
                  <a16:creationId xmlns:a16="http://schemas.microsoft.com/office/drawing/2014/main" id="{B5F25742-0C4B-EE1F-02D1-D8E4AA6F08EE}"/>
                </a:ext>
              </a:extLst>
            </p:cNvPr>
            <p:cNvSpPr/>
            <p:nvPr/>
          </p:nvSpPr>
          <p:spPr>
            <a:xfrm rot="5400000">
              <a:off x="6352279" y="2660349"/>
              <a:ext cx="2159976" cy="1862048"/>
            </a:xfrm>
            <a:prstGeom prst="hexagon">
              <a:avLst/>
            </a:prstGeom>
            <a:gradFill>
              <a:gsLst>
                <a:gs pos="31000">
                  <a:schemeClr val="bg1"/>
                </a:gs>
                <a:gs pos="80000">
                  <a:schemeClr val="accent5">
                    <a:lumMod val="20000"/>
                    <a:lumOff val="80000"/>
                  </a:schemeClr>
                </a:gs>
                <a:gs pos="99000">
                  <a:schemeClr val="accent5"/>
                </a:gs>
              </a:gsLst>
              <a:lin ang="21594000" scaled="0"/>
            </a:gradFill>
            <a:ln>
              <a:noFill/>
            </a:ln>
            <a:effectLst>
              <a:outerShdw blurRad="190500" dist="635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53292834-5BCD-5A23-3052-117C54482AA8}"/>
                </a:ext>
              </a:extLst>
            </p:cNvPr>
            <p:cNvSpPr txBox="1"/>
            <p:nvPr/>
          </p:nvSpPr>
          <p:spPr>
            <a:xfrm>
              <a:off x="6564311" y="3161927"/>
              <a:ext cx="1931057" cy="923330"/>
            </a:xfrm>
            <a:prstGeom prst="rect">
              <a:avLst/>
            </a:prstGeom>
            <a:noFill/>
            <a:effectLst>
              <a:outerShdw blurRad="50800" dist="50800" dir="5400000" algn="ctr" rotWithShape="0">
                <a:schemeClr val="accent5">
                  <a:lumMod val="40000"/>
                  <a:lumOff val="60000"/>
                </a:schemeClr>
              </a:outerShdw>
            </a:effectLst>
          </p:spPr>
          <p:txBody>
            <a:bodyPr wrap="square" rtlCol="0">
              <a:spAutoFit/>
            </a:bodyPr>
            <a:lstStyle>
              <a:defPPr>
                <a:defRPr lang="en-US"/>
              </a:defPPr>
              <a:lvl1pPr algn="ctr">
                <a:defRPr sz="11500" b="1">
                  <a:gradFill>
                    <a:gsLst>
                      <a:gs pos="0">
                        <a:srgbClr val="00D9FF"/>
                      </a:gs>
                      <a:gs pos="50000">
                        <a:schemeClr val="accent2"/>
                      </a:gs>
                      <a:gs pos="99000">
                        <a:schemeClr val="accent4"/>
                      </a:gs>
                    </a:gsLst>
                    <a:lin ang="5536656" scaled="1"/>
                  </a:gradFill>
                  <a:effectLst>
                    <a:outerShdw blurRad="482600" dist="50800" algn="ctr" rotWithShape="0">
                      <a:srgbClr val="000000">
                        <a:alpha val="40000"/>
                      </a:srgbClr>
                    </a:outerShdw>
                  </a:effectLst>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5400" b="1" i="0" u="none" strike="noStrike" kern="1200" cap="none" spc="0" normalizeH="0" baseline="0" noProof="0" dirty="0">
                  <a:ln>
                    <a:noFill/>
                  </a:ln>
                  <a:gradFill>
                    <a:gsLst>
                      <a:gs pos="0">
                        <a:srgbClr val="62C6A5"/>
                      </a:gs>
                      <a:gs pos="50000">
                        <a:srgbClr val="62C6A5"/>
                      </a:gs>
                      <a:gs pos="99000">
                        <a:srgbClr val="018577"/>
                      </a:gs>
                    </a:gsLst>
                    <a:lin ang="5536656" scaled="1"/>
                  </a:gradFill>
                  <a:effectLst>
                    <a:outerShdw blurRad="482600" dist="50800" algn="ctr" rotWithShape="0">
                      <a:srgbClr val="000000">
                        <a:alpha val="40000"/>
                      </a:srgbClr>
                    </a:outerShdw>
                  </a:effectLst>
                  <a:uLnTx/>
                  <a:uFillTx/>
                  <a:latin typeface="Arial" panose="020B0604020202020204" pitchFamily="34" charset="0"/>
                  <a:ea typeface="+mn-ea"/>
                  <a:cs typeface="Arial" panose="020B0604020202020204" pitchFamily="34" charset="0"/>
                </a:rPr>
                <a:t>30</a:t>
              </a:r>
              <a:r>
                <a:rPr kumimoji="0" lang="en-US" sz="5400" b="1" i="0" u="none" strike="noStrike" kern="1200" cap="none" spc="0" normalizeH="0" baseline="30000" noProof="0" dirty="0">
                  <a:ln>
                    <a:noFill/>
                  </a:ln>
                  <a:gradFill>
                    <a:gsLst>
                      <a:gs pos="0">
                        <a:srgbClr val="62C6A5"/>
                      </a:gs>
                      <a:gs pos="50000">
                        <a:srgbClr val="62C6A5"/>
                      </a:gs>
                      <a:gs pos="99000">
                        <a:srgbClr val="018577"/>
                      </a:gs>
                    </a:gsLst>
                    <a:lin ang="5536656" scaled="1"/>
                  </a:gradFill>
                  <a:effectLst>
                    <a:outerShdw blurRad="482600" dist="50800" algn="ctr" rotWithShape="0">
                      <a:srgbClr val="000000">
                        <a:alpha val="40000"/>
                      </a:srgbClr>
                    </a:outerShdw>
                  </a:effectLst>
                  <a:uLnTx/>
                  <a:uFillTx/>
                  <a:latin typeface="Arial" panose="020B0604020202020204" pitchFamily="34" charset="0"/>
                  <a:ea typeface="+mn-ea"/>
                  <a:cs typeface="Arial" panose="020B0604020202020204" pitchFamily="34" charset="0"/>
                </a:rPr>
                <a:t>%</a:t>
              </a:r>
            </a:p>
          </p:txBody>
        </p:sp>
      </p:grpSp>
      <p:sp>
        <p:nvSpPr>
          <p:cNvPr id="5" name="Google Shape;22;p1">
            <a:extLst>
              <a:ext uri="{FF2B5EF4-FFF2-40B4-BE49-F238E27FC236}">
                <a16:creationId xmlns:a16="http://schemas.microsoft.com/office/drawing/2014/main" id="{07F7496D-EB25-6482-C1E8-F7A07F79A4A6}"/>
              </a:ext>
            </a:extLst>
          </p:cNvPr>
          <p:cNvSpPr txBox="1"/>
          <p:nvPr/>
        </p:nvSpPr>
        <p:spPr>
          <a:xfrm>
            <a:off x="6348400" y="4442015"/>
            <a:ext cx="2607745" cy="785280"/>
          </a:xfrm>
          <a:prstGeom prst="rect">
            <a:avLst/>
          </a:prstGeom>
        </p:spPr>
        <p:txBody>
          <a:bodyPr wrap="square" lIns="0" tIns="0" rIns="0" bIns="0">
            <a:noAutofit/>
          </a:bodyPr>
          <a:lstStyle>
            <a:defPPr>
              <a:defRPr lang="en-US"/>
            </a:defPPr>
            <a:lvl1pPr algn="ctr">
              <a:lnSpc>
                <a:spcPct val="130000"/>
              </a:lnSpc>
              <a:defRPr sz="1600">
                <a:solidFill>
                  <a:schemeClr val="bg1"/>
                </a:solidFill>
                <a:ea typeface="Open Sans Light" panose="020B0306030504020204" pitchFamily="34" charset="0"/>
                <a:cs typeface="Arial"/>
              </a:defRPr>
            </a:lvl1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t>of healthcare expenditures in 2022 were driven by administrative costs</a:t>
            </a:r>
            <a:r>
              <a:rPr lang="en-US" sz="1400" baseline="34000" dirty="0">
                <a:solidFill>
                  <a:prstClr val="white"/>
                </a:solidFill>
                <a:latin typeface="Arial"/>
              </a:rPr>
              <a:t>4</a:t>
            </a:r>
            <a:endParaRPr kumimoji="0" lang="en-US" sz="1600" b="0" i="0" u="none" strike="noStrike" kern="1200" cap="none" spc="0" normalizeH="0" baseline="34000" noProof="0" dirty="0">
              <a:ln>
                <a:noFill/>
              </a:ln>
              <a:solidFill>
                <a:prstClr val="white"/>
              </a:solidFill>
              <a:effectLst/>
              <a:uLnTx/>
              <a:uFillTx/>
              <a:latin typeface="Arial"/>
              <a:ea typeface="Open Sans Light" panose="020B0306030504020204" pitchFamily="34" charset="0"/>
              <a:cs typeface="Arial"/>
            </a:endParaRPr>
          </a:p>
        </p:txBody>
      </p:sp>
      <p:grpSp>
        <p:nvGrpSpPr>
          <p:cNvPr id="22" name="Group 21">
            <a:extLst>
              <a:ext uri="{FF2B5EF4-FFF2-40B4-BE49-F238E27FC236}">
                <a16:creationId xmlns:a16="http://schemas.microsoft.com/office/drawing/2014/main" id="{720427A5-94A6-29DD-F17E-B471589D29DF}"/>
              </a:ext>
            </a:extLst>
          </p:cNvPr>
          <p:cNvGrpSpPr/>
          <p:nvPr/>
        </p:nvGrpSpPr>
        <p:grpSpPr>
          <a:xfrm>
            <a:off x="9450962" y="2120766"/>
            <a:ext cx="1931057" cy="2103120"/>
            <a:chOff x="9129480" y="2511385"/>
            <a:chExt cx="1931057" cy="2103120"/>
          </a:xfrm>
        </p:grpSpPr>
        <p:sp>
          <p:nvSpPr>
            <p:cNvPr id="17" name="Hexagon 16">
              <a:extLst>
                <a:ext uri="{FF2B5EF4-FFF2-40B4-BE49-F238E27FC236}">
                  <a16:creationId xmlns:a16="http://schemas.microsoft.com/office/drawing/2014/main" id="{C5A8CE8C-8B0C-E88D-4447-A7A9069D4499}"/>
                </a:ext>
              </a:extLst>
            </p:cNvPr>
            <p:cNvSpPr/>
            <p:nvPr/>
          </p:nvSpPr>
          <p:spPr>
            <a:xfrm rot="5400000">
              <a:off x="9040987" y="2602825"/>
              <a:ext cx="2103120" cy="1920240"/>
            </a:xfrm>
            <a:prstGeom prst="hexagon">
              <a:avLst/>
            </a:prstGeom>
            <a:gradFill>
              <a:gsLst>
                <a:gs pos="31000">
                  <a:schemeClr val="bg1"/>
                </a:gs>
                <a:gs pos="80000">
                  <a:schemeClr val="accent4">
                    <a:lumMod val="20000"/>
                    <a:lumOff val="80000"/>
                  </a:schemeClr>
                </a:gs>
                <a:gs pos="99000">
                  <a:schemeClr val="accent4"/>
                </a:gs>
              </a:gsLst>
              <a:lin ang="21594000" scaled="0"/>
            </a:gradFill>
            <a:ln>
              <a:noFill/>
            </a:ln>
            <a:effectLst>
              <a:outerShdw blurRad="190500" dist="635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 name="TextBox 18">
              <a:extLst>
                <a:ext uri="{FF2B5EF4-FFF2-40B4-BE49-F238E27FC236}">
                  <a16:creationId xmlns:a16="http://schemas.microsoft.com/office/drawing/2014/main" id="{7B206B17-17B8-BA51-15D8-7010A9A0F866}"/>
                </a:ext>
              </a:extLst>
            </p:cNvPr>
            <p:cNvSpPr txBox="1"/>
            <p:nvPr/>
          </p:nvSpPr>
          <p:spPr>
            <a:xfrm>
              <a:off x="9129480" y="3199638"/>
              <a:ext cx="1931057" cy="861774"/>
            </a:xfrm>
            <a:prstGeom prst="rect">
              <a:avLst/>
            </a:prstGeom>
            <a:noFill/>
            <a:effectLst>
              <a:outerShdw blurRad="50800" dist="50800" dir="5400000" algn="ctr" rotWithShape="0">
                <a:schemeClr val="accent4">
                  <a:lumMod val="20000"/>
                  <a:lumOff val="80000"/>
                </a:schemeClr>
              </a:outerShdw>
            </a:effectLst>
          </p:spPr>
          <p:txBody>
            <a:bodyPr wrap="square" rtlCol="0">
              <a:spAutoFit/>
            </a:bodyPr>
            <a:lstStyle>
              <a:defPPr>
                <a:defRPr lang="en-US"/>
              </a:defPPr>
              <a:lvl1pPr algn="ctr">
                <a:defRPr sz="11500" b="1">
                  <a:gradFill>
                    <a:gsLst>
                      <a:gs pos="0">
                        <a:srgbClr val="00D9FF"/>
                      </a:gs>
                      <a:gs pos="50000">
                        <a:schemeClr val="accent2"/>
                      </a:gs>
                      <a:gs pos="99000">
                        <a:schemeClr val="accent4"/>
                      </a:gs>
                    </a:gsLst>
                    <a:lin ang="5536656" scaled="1"/>
                  </a:gradFill>
                  <a:effectLst>
                    <a:outerShdw blurRad="482600" dist="50800" algn="ctr" rotWithShape="0">
                      <a:srgbClr val="000000">
                        <a:alpha val="40000"/>
                      </a:srgbClr>
                    </a:outerShdw>
                  </a:effectLst>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5000" b="1" i="0" u="none" strike="noStrike" kern="1200" cap="none" spc="-300" normalizeH="0" baseline="0" noProof="0" dirty="0">
                  <a:ln>
                    <a:noFill/>
                  </a:ln>
                  <a:solidFill>
                    <a:srgbClr val="0072CD"/>
                  </a:solidFill>
                  <a:effectLst>
                    <a:outerShdw blurRad="482600" dist="50800" algn="ctr" rotWithShape="0">
                      <a:srgbClr val="000000">
                        <a:alpha val="40000"/>
                      </a:srgbClr>
                    </a:outerShdw>
                  </a:effectLst>
                  <a:uLnTx/>
                  <a:uFillTx/>
                  <a:latin typeface="Arial" panose="020B0604020202020204" pitchFamily="34" charset="0"/>
                  <a:ea typeface="+mn-ea"/>
                  <a:cs typeface="Arial" panose="020B0604020202020204" pitchFamily="34" charset="0"/>
                </a:rPr>
                <a:t>$265B</a:t>
              </a:r>
            </a:p>
          </p:txBody>
        </p:sp>
      </p:grpSp>
      <p:sp>
        <p:nvSpPr>
          <p:cNvPr id="20" name="Rectangle 19">
            <a:extLst>
              <a:ext uri="{FF2B5EF4-FFF2-40B4-BE49-F238E27FC236}">
                <a16:creationId xmlns:a16="http://schemas.microsoft.com/office/drawing/2014/main" id="{F26FF258-7915-894D-A891-8A8058916A91}"/>
              </a:ext>
            </a:extLst>
          </p:cNvPr>
          <p:cNvSpPr/>
          <p:nvPr/>
        </p:nvSpPr>
        <p:spPr>
          <a:xfrm>
            <a:off x="0" y="1"/>
            <a:ext cx="12192000" cy="2610034"/>
          </a:xfrm>
          <a:prstGeom prst="rect">
            <a:avLst/>
          </a:prstGeom>
          <a:gradFill>
            <a:gsLst>
              <a:gs pos="48000">
                <a:schemeClr val="bg1"/>
              </a:gs>
              <a:gs pos="7000">
                <a:schemeClr val="bg2"/>
              </a:gs>
            </a:gsLst>
            <a:lin ang="5400000" scaled="0"/>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16D81EF4-58AD-DA9B-0EE9-72B740AAF9DD}"/>
              </a:ext>
            </a:extLst>
          </p:cNvPr>
          <p:cNvSpPr>
            <a:spLocks noGrp="1"/>
          </p:cNvSpPr>
          <p:nvPr>
            <p:ph type="title" idx="4294967295"/>
          </p:nvPr>
        </p:nvSpPr>
        <p:spPr>
          <a:xfrm>
            <a:off x="1" y="376238"/>
            <a:ext cx="12192000" cy="852487"/>
          </a:xfrm>
          <a:prstGeom prst="rect">
            <a:avLst/>
          </a:prstGeom>
        </p:spPr>
        <p:txBody>
          <a:bodyPr/>
          <a:lstStyle/>
          <a:p>
            <a:pPr algn="ctr">
              <a:lnSpc>
                <a:spcPct val="100000"/>
              </a:lnSpc>
              <a:spcBef>
                <a:spcPts val="600"/>
              </a:spcBef>
              <a:spcAft>
                <a:spcPts val="600"/>
              </a:spcAft>
            </a:pPr>
            <a:r>
              <a:rPr lang="en-US" sz="3200" dirty="0">
                <a:solidFill>
                  <a:schemeClr val="accent1"/>
                </a:solidFill>
              </a:rPr>
              <a:t>Healthcare administration costs continue to skyrocket</a:t>
            </a:r>
          </a:p>
        </p:txBody>
      </p:sp>
      <p:sp>
        <p:nvSpPr>
          <p:cNvPr id="4" name="TextBox 3">
            <a:extLst>
              <a:ext uri="{FF2B5EF4-FFF2-40B4-BE49-F238E27FC236}">
                <a16:creationId xmlns:a16="http://schemas.microsoft.com/office/drawing/2014/main" id="{4293687A-299E-8FCF-5BA2-4DBDF4313DE7}"/>
              </a:ext>
            </a:extLst>
          </p:cNvPr>
          <p:cNvSpPr txBox="1"/>
          <p:nvPr/>
        </p:nvSpPr>
        <p:spPr>
          <a:xfrm>
            <a:off x="1679742" y="1292513"/>
            <a:ext cx="8832515" cy="69273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solidFill>
                  <a:srgbClr val="323E48"/>
                </a:solidFill>
                <a:effectLst/>
                <a:uLnTx/>
                <a:uFillTx/>
                <a:latin typeface="Arial"/>
                <a:ea typeface="+mn-ea"/>
                <a:cs typeface="Arial"/>
              </a:rPr>
              <a:t>U.S. spending on administrative healthcare functions has risen steadily year-over-year reaching roughly </a:t>
            </a:r>
            <a:r>
              <a:rPr kumimoji="0" lang="en-US" sz="1800" b="1" i="0" u="none" strike="noStrike" kern="1200" cap="none" spc="0" normalizeH="0" baseline="0" noProof="0" dirty="0">
                <a:ln>
                  <a:noFill/>
                </a:ln>
                <a:solidFill>
                  <a:srgbClr val="323E48"/>
                </a:solidFill>
                <a:effectLst/>
                <a:uLnTx/>
                <a:uFillTx/>
                <a:latin typeface="Arial"/>
                <a:ea typeface="+mn-ea"/>
                <a:cs typeface="Arial"/>
              </a:rPr>
              <a:t>$1.5T in 2023</a:t>
            </a:r>
            <a:r>
              <a:rPr kumimoji="0" lang="en-US" sz="1600" i="0" u="none" strike="noStrike" kern="1200" cap="none" spc="0" normalizeH="0" baseline="40000" noProof="0" dirty="0">
                <a:ln>
                  <a:noFill/>
                </a:ln>
                <a:solidFill>
                  <a:srgbClr val="323E48"/>
                </a:solidFill>
                <a:effectLst/>
                <a:uLnTx/>
                <a:uFillTx/>
                <a:latin typeface="Arial"/>
                <a:ea typeface="+mn-ea"/>
                <a:cs typeface="Arial"/>
              </a:rPr>
              <a:t>1</a:t>
            </a:r>
            <a:r>
              <a:rPr kumimoji="0" lang="en-US" sz="1800" b="1" i="0" u="none" strike="noStrike" kern="1200" cap="none" spc="0" normalizeH="0" baseline="0" noProof="0" dirty="0">
                <a:ln>
                  <a:noFill/>
                </a:ln>
                <a:solidFill>
                  <a:srgbClr val="323E48"/>
                </a:solidFill>
                <a:effectLst/>
                <a:uLnTx/>
                <a:uFillTx/>
                <a:latin typeface="Arial"/>
                <a:ea typeface="+mn-ea"/>
                <a:cs typeface="Arial"/>
              </a:rPr>
              <a:t> </a:t>
            </a:r>
            <a:r>
              <a:rPr kumimoji="0" lang="en-US" sz="1800" b="0" i="0" u="none" strike="noStrike" kern="1200" cap="none" spc="0" normalizeH="0" baseline="0" noProof="0" dirty="0">
                <a:ln>
                  <a:noFill/>
                </a:ln>
                <a:solidFill>
                  <a:srgbClr val="323E48"/>
                </a:solidFill>
                <a:effectLst/>
                <a:uLnTx/>
                <a:uFillTx/>
                <a:latin typeface="Arial"/>
                <a:ea typeface="+mn-ea"/>
                <a:cs typeface="Arial"/>
              </a:rPr>
              <a:t>and exceeding that of other high-income countries</a:t>
            </a:r>
          </a:p>
        </p:txBody>
      </p:sp>
      <p:sp>
        <p:nvSpPr>
          <p:cNvPr id="3" name="TextBox 2">
            <a:extLst>
              <a:ext uri="{FF2B5EF4-FFF2-40B4-BE49-F238E27FC236}">
                <a16:creationId xmlns:a16="http://schemas.microsoft.com/office/drawing/2014/main" id="{16BA5A76-C0B7-9946-6D32-5E73C6B96423}"/>
              </a:ext>
            </a:extLst>
          </p:cNvPr>
          <p:cNvSpPr txBox="1"/>
          <p:nvPr/>
        </p:nvSpPr>
        <p:spPr>
          <a:xfrm>
            <a:off x="9155055" y="4428876"/>
            <a:ext cx="2601280" cy="738664"/>
          </a:xfrm>
          <a:prstGeom prst="rect">
            <a:avLst/>
          </a:prstGeom>
          <a:noFill/>
        </p:spPr>
        <p:txBody>
          <a:bodyPr wrap="square" lIns="0" tIns="0" rIns="0" bIns="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a:ea typeface="+mn-ea"/>
                <a:cs typeface="+mn-cs"/>
              </a:rPr>
              <a:t>In healthcare </a:t>
            </a:r>
            <a:br>
              <a:rPr kumimoji="0" lang="en-US" sz="1600" b="0" i="0" u="none" strike="noStrike" kern="1200" cap="none" spc="0" normalizeH="0" baseline="0" noProof="0" dirty="0">
                <a:ln>
                  <a:noFill/>
                </a:ln>
                <a:solidFill>
                  <a:schemeClr val="bg1"/>
                </a:solidFill>
                <a:effectLst/>
                <a:uLnTx/>
                <a:uFillTx/>
                <a:latin typeface="Arial"/>
                <a:ea typeface="+mn-ea"/>
                <a:cs typeface="+mn-cs"/>
              </a:rPr>
            </a:br>
            <a:r>
              <a:rPr kumimoji="0" lang="en-US" sz="1600" b="0" i="0" u="none" strike="noStrike" kern="1200" cap="none" spc="0" normalizeH="0" baseline="0" noProof="0" dirty="0">
                <a:ln>
                  <a:noFill/>
                </a:ln>
                <a:solidFill>
                  <a:schemeClr val="bg1"/>
                </a:solidFill>
                <a:effectLst/>
                <a:uLnTx/>
                <a:uFillTx/>
                <a:latin typeface="Arial"/>
                <a:ea typeface="+mn-ea"/>
                <a:cs typeface="+mn-cs"/>
              </a:rPr>
              <a:t>administrative waste</a:t>
            </a:r>
            <a:r>
              <a:rPr kumimoji="0" lang="en-US" sz="1400" b="0" i="0" u="none" strike="noStrike" kern="1200" cap="none" spc="0" normalizeH="0" baseline="36000" noProof="0" dirty="0">
                <a:ln>
                  <a:noFill/>
                </a:ln>
                <a:solidFill>
                  <a:prstClr val="white"/>
                </a:solidFill>
                <a:effectLst/>
                <a:uLnTx/>
                <a:uFillTx/>
                <a:latin typeface="Arial"/>
                <a:ea typeface="Open Sans Light" panose="020B0306030504020204" pitchFamily="34" charset="0"/>
                <a:cs typeface="Arial"/>
              </a:rPr>
              <a:t>5</a:t>
            </a:r>
            <a:endParaRPr kumimoji="0" lang="en-US" sz="1600" b="0" i="0" u="none" strike="noStrike" kern="1200" cap="none" spc="0" normalizeH="0" baseline="36000" noProof="0" dirty="0">
              <a:ln>
                <a:noFill/>
              </a:ln>
              <a:solidFill>
                <a:schemeClr val="bg1"/>
              </a:solidFill>
              <a:effectLst/>
              <a:uLnTx/>
              <a:uFillTx/>
              <a:latin typeface="Arial"/>
              <a:ea typeface="+mn-ea"/>
              <a:cs typeface="+mn-cs"/>
            </a:endParaRPr>
          </a:p>
        </p:txBody>
      </p:sp>
      <p:sp>
        <p:nvSpPr>
          <p:cNvPr id="15" name="TextBox 14">
            <a:extLst>
              <a:ext uri="{FF2B5EF4-FFF2-40B4-BE49-F238E27FC236}">
                <a16:creationId xmlns:a16="http://schemas.microsoft.com/office/drawing/2014/main" id="{BE009773-EA30-A25E-2C67-90D65BE6D04F}"/>
              </a:ext>
            </a:extLst>
          </p:cNvPr>
          <p:cNvSpPr txBox="1"/>
          <p:nvPr/>
        </p:nvSpPr>
        <p:spPr>
          <a:xfrm>
            <a:off x="5669584" y="6239603"/>
            <a:ext cx="4979274" cy="215444"/>
          </a:xfrm>
          <a:prstGeom prst="rect">
            <a:avLst/>
          </a:prstGeom>
          <a:noFill/>
        </p:spPr>
        <p:txBody>
          <a:bodyPr wrap="square">
            <a:spAutoFit/>
          </a:bodyPr>
          <a:lstStyle/>
          <a:p>
            <a:r>
              <a:rPr lang="en-US" sz="800" dirty="0">
                <a:solidFill>
                  <a:schemeClr val="bg1">
                    <a:lumMod val="85000"/>
                  </a:schemeClr>
                </a:solidFill>
              </a:rPr>
              <a:t>3 www.cms.gov/data-research/statistics-trends-and-reports/national-health-expenditure-data/historical</a:t>
            </a:r>
          </a:p>
        </p:txBody>
      </p:sp>
      <p:sp>
        <p:nvSpPr>
          <p:cNvPr id="23" name="TextBox 22">
            <a:extLst>
              <a:ext uri="{FF2B5EF4-FFF2-40B4-BE49-F238E27FC236}">
                <a16:creationId xmlns:a16="http://schemas.microsoft.com/office/drawing/2014/main" id="{FBA776FD-34FF-4A4E-87B7-20C71BAF388A}"/>
              </a:ext>
            </a:extLst>
          </p:cNvPr>
          <p:cNvSpPr txBox="1"/>
          <p:nvPr/>
        </p:nvSpPr>
        <p:spPr>
          <a:xfrm>
            <a:off x="5669584" y="6412648"/>
            <a:ext cx="4375593" cy="215444"/>
          </a:xfrm>
          <a:prstGeom prst="rect">
            <a:avLst/>
          </a:prstGeom>
          <a:noFill/>
        </p:spPr>
        <p:txBody>
          <a:bodyPr wrap="square">
            <a:spAutoFit/>
          </a:bodyPr>
          <a:lstStyle/>
          <a:p>
            <a:r>
              <a:rPr lang="en-US" sz="800" dirty="0">
                <a:solidFill>
                  <a:schemeClr val="bg1">
                    <a:lumMod val="85000"/>
                  </a:schemeClr>
                </a:solidFill>
              </a:rPr>
              <a:t>4 www.cms.gov/newsroom/fact-sheets/national-health-expenditures-2022-highlights</a:t>
            </a:r>
          </a:p>
        </p:txBody>
      </p:sp>
      <p:sp>
        <p:nvSpPr>
          <p:cNvPr id="24" name="TextBox 23">
            <a:extLst>
              <a:ext uri="{FF2B5EF4-FFF2-40B4-BE49-F238E27FC236}">
                <a16:creationId xmlns:a16="http://schemas.microsoft.com/office/drawing/2014/main" id="{222219DD-DF53-3A5E-F3F1-93F3A2794E33}"/>
              </a:ext>
            </a:extLst>
          </p:cNvPr>
          <p:cNvSpPr txBox="1"/>
          <p:nvPr/>
        </p:nvSpPr>
        <p:spPr>
          <a:xfrm>
            <a:off x="5669584" y="6081004"/>
            <a:ext cx="4491003" cy="215444"/>
          </a:xfrm>
          <a:prstGeom prst="rect">
            <a:avLst/>
          </a:prstGeom>
          <a:noFill/>
        </p:spPr>
        <p:txBody>
          <a:bodyPr wrap="square">
            <a:spAutoFit/>
          </a:bodyPr>
          <a:lstStyle/>
          <a:p>
            <a:r>
              <a:rPr lang="en-US" sz="800" dirty="0">
                <a:solidFill>
                  <a:schemeClr val="bg1">
                    <a:lumMod val="85000"/>
                  </a:schemeClr>
                </a:solidFill>
              </a:rPr>
              <a:t>2 www.cms.gov/newsroom/fact-sheets/national-health-expenditures-2022-highlights</a:t>
            </a:r>
          </a:p>
        </p:txBody>
      </p:sp>
      <p:sp>
        <p:nvSpPr>
          <p:cNvPr id="25" name="TextBox 24">
            <a:extLst>
              <a:ext uri="{FF2B5EF4-FFF2-40B4-BE49-F238E27FC236}">
                <a16:creationId xmlns:a16="http://schemas.microsoft.com/office/drawing/2014/main" id="{51B7CC16-76C4-FE6E-593C-9792EF257805}"/>
              </a:ext>
            </a:extLst>
          </p:cNvPr>
          <p:cNvSpPr txBox="1"/>
          <p:nvPr/>
        </p:nvSpPr>
        <p:spPr>
          <a:xfrm>
            <a:off x="5669584" y="6571247"/>
            <a:ext cx="5436909" cy="215444"/>
          </a:xfrm>
          <a:prstGeom prst="rect">
            <a:avLst/>
          </a:prstGeom>
          <a:noFill/>
        </p:spPr>
        <p:txBody>
          <a:bodyPr wrap="square">
            <a:spAutoFit/>
          </a:bodyPr>
          <a:lstStyle/>
          <a:p>
            <a:r>
              <a:rPr lang="en-US" sz="800" dirty="0">
                <a:solidFill>
                  <a:schemeClr val="bg1">
                    <a:lumMod val="85000"/>
                  </a:schemeClr>
                </a:solidFill>
              </a:rPr>
              <a:t>5 www.fiercehealthcare.com/practices/report-u-s-healthcare-could-save-265-billion-administrative-costs</a:t>
            </a:r>
          </a:p>
        </p:txBody>
      </p:sp>
      <p:sp>
        <p:nvSpPr>
          <p:cNvPr id="26" name="TextBox 25">
            <a:extLst>
              <a:ext uri="{FF2B5EF4-FFF2-40B4-BE49-F238E27FC236}">
                <a16:creationId xmlns:a16="http://schemas.microsoft.com/office/drawing/2014/main" id="{7F2F345C-1674-8E7D-D846-E29147E3C907}"/>
              </a:ext>
            </a:extLst>
          </p:cNvPr>
          <p:cNvSpPr txBox="1"/>
          <p:nvPr/>
        </p:nvSpPr>
        <p:spPr>
          <a:xfrm>
            <a:off x="5669584" y="5922404"/>
            <a:ext cx="6094520" cy="215444"/>
          </a:xfrm>
          <a:prstGeom prst="rect">
            <a:avLst/>
          </a:prstGeom>
          <a:noFill/>
        </p:spPr>
        <p:txBody>
          <a:bodyPr wrap="square">
            <a:spAutoFit/>
          </a:bodyPr>
          <a:lstStyle/>
          <a:p>
            <a:r>
              <a:rPr lang="en-US" sz="800" dirty="0">
                <a:solidFill>
                  <a:schemeClr val="bg1">
                    <a:lumMod val="85000"/>
                  </a:schemeClr>
                </a:solidFill>
              </a:rPr>
              <a:t>1 www.chiefhealthcareexecutive.com/view/healthcare-administrative-spending-soars-by-50-</a:t>
            </a:r>
          </a:p>
        </p:txBody>
      </p:sp>
    </p:spTree>
    <p:extLst>
      <p:ext uri="{BB962C8B-B14F-4D97-AF65-F5344CB8AC3E}">
        <p14:creationId xmlns:p14="http://schemas.microsoft.com/office/powerpoint/2010/main" val="227312014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41B09-599A-6A33-DA82-D3A7509BB3D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8AF4829-9609-CF8A-C03D-8DEEC86F9B9B}"/>
              </a:ext>
            </a:extLst>
          </p:cNvPr>
          <p:cNvSpPr>
            <a:spLocks noGrp="1"/>
          </p:cNvSpPr>
          <p:nvPr>
            <p:ph type="body" sz="quarter" idx="4294967295"/>
          </p:nvPr>
        </p:nvSpPr>
        <p:spPr>
          <a:xfrm>
            <a:off x="992472" y="481013"/>
            <a:ext cx="10625138" cy="450850"/>
          </a:xfrm>
        </p:spPr>
        <p:txBody>
          <a:bodyPr/>
          <a:lstStyle/>
          <a:p>
            <a:pPr marL="0" indent="0" algn="ctr">
              <a:buNone/>
            </a:pPr>
            <a:r>
              <a:rPr lang="en-US" sz="2000" dirty="0">
                <a:solidFill>
                  <a:srgbClr val="00D9FF"/>
                </a:solidFill>
              </a:rPr>
              <a:t>Poll Question #1</a:t>
            </a:r>
          </a:p>
        </p:txBody>
      </p:sp>
      <p:sp>
        <p:nvSpPr>
          <p:cNvPr id="6" name="TextBox 5">
            <a:extLst>
              <a:ext uri="{FF2B5EF4-FFF2-40B4-BE49-F238E27FC236}">
                <a16:creationId xmlns:a16="http://schemas.microsoft.com/office/drawing/2014/main" id="{DF266619-9033-1530-4533-E3894F36CDBB}"/>
              </a:ext>
            </a:extLst>
          </p:cNvPr>
          <p:cNvSpPr txBox="1"/>
          <p:nvPr/>
        </p:nvSpPr>
        <p:spPr>
          <a:xfrm>
            <a:off x="1743925" y="2472993"/>
            <a:ext cx="9690513" cy="2508379"/>
          </a:xfrm>
          <a:prstGeom prst="rect">
            <a:avLst/>
          </a:prstGeom>
          <a:noFill/>
        </p:spPr>
        <p:txBody>
          <a:bodyPr wrap="square">
            <a:spAutoFit/>
          </a:bodyPr>
          <a:lstStyle/>
          <a:p>
            <a:pPr marL="630238" marR="0" indent="-630238">
              <a:spcAft>
                <a:spcPts val="1800"/>
              </a:spcAft>
              <a:buFont typeface="+mj-lt"/>
              <a:buAutoNum type="alphaUcPeriod"/>
            </a:pPr>
            <a:r>
              <a:rPr lang="en-US" sz="2800" dirty="0">
                <a:solidFill>
                  <a:schemeClr val="bg1"/>
                </a:solidFill>
                <a:ea typeface="Aptos" panose="020B0004020202020204" pitchFamily="34" charset="0"/>
                <a:cs typeface="Aptos" panose="020B0004020202020204" pitchFamily="34" charset="0"/>
              </a:rPr>
              <a:t>Patient Access</a:t>
            </a:r>
          </a:p>
          <a:p>
            <a:pPr marL="630238" marR="0" indent="-630238">
              <a:spcAft>
                <a:spcPts val="1800"/>
              </a:spcAft>
              <a:buFont typeface="+mj-lt"/>
              <a:buAutoNum type="alphaUcPeriod"/>
            </a:pPr>
            <a:r>
              <a:rPr lang="en-US" sz="2800" dirty="0">
                <a:solidFill>
                  <a:schemeClr val="bg1"/>
                </a:solidFill>
                <a:ea typeface="Aptos" panose="020B0004020202020204" pitchFamily="34" charset="0"/>
                <a:cs typeface="Aptos" panose="020B0004020202020204" pitchFamily="34" charset="0"/>
              </a:rPr>
              <a:t>Network Management</a:t>
            </a:r>
            <a:endParaRPr lang="en-US" sz="2800" dirty="0">
              <a:solidFill>
                <a:schemeClr val="bg1"/>
              </a:solidFill>
              <a:effectLst/>
              <a:ea typeface="Aptos" panose="020B0004020202020204" pitchFamily="34" charset="0"/>
              <a:cs typeface="Aptos" panose="020B0004020202020204" pitchFamily="34" charset="0"/>
            </a:endParaRPr>
          </a:p>
          <a:p>
            <a:pPr marL="630238" marR="0" indent="-630238">
              <a:spcAft>
                <a:spcPts val="1800"/>
              </a:spcAft>
              <a:buFont typeface="+mj-lt"/>
              <a:buAutoNum type="alphaUcPeriod"/>
            </a:pPr>
            <a:r>
              <a:rPr lang="en-US" sz="2800" dirty="0">
                <a:solidFill>
                  <a:schemeClr val="bg1"/>
                </a:solidFill>
                <a:ea typeface="Aptos" panose="020B0004020202020204" pitchFamily="34" charset="0"/>
                <a:cs typeface="Aptos" panose="020B0004020202020204" pitchFamily="34" charset="0"/>
              </a:rPr>
              <a:t>Interoperability/Data Sharing </a:t>
            </a:r>
            <a:r>
              <a:rPr lang="en-US" sz="2400" i="1" dirty="0">
                <a:solidFill>
                  <a:schemeClr val="bg1"/>
                </a:solidFill>
                <a:ea typeface="Aptos" panose="020B0004020202020204" pitchFamily="34" charset="0"/>
                <a:cs typeface="Aptos" panose="020B0004020202020204" pitchFamily="34" charset="0"/>
              </a:rPr>
              <a:t>(Right Data at The Right Time)</a:t>
            </a:r>
            <a:endParaRPr lang="en-US" sz="2800" i="1" dirty="0">
              <a:solidFill>
                <a:schemeClr val="bg1"/>
              </a:solidFill>
              <a:ea typeface="Aptos" panose="020B0004020202020204" pitchFamily="34" charset="0"/>
              <a:cs typeface="Aptos" panose="020B0004020202020204" pitchFamily="34" charset="0"/>
            </a:endParaRPr>
          </a:p>
          <a:p>
            <a:pPr marL="630238" marR="0" indent="-630238">
              <a:spcAft>
                <a:spcPts val="1800"/>
              </a:spcAft>
              <a:buFont typeface="+mj-lt"/>
              <a:buAutoNum type="alphaUcPeriod"/>
            </a:pPr>
            <a:r>
              <a:rPr lang="en-US" sz="2800" dirty="0">
                <a:solidFill>
                  <a:schemeClr val="bg1"/>
                </a:solidFill>
                <a:ea typeface="Aptos" panose="020B0004020202020204" pitchFamily="34" charset="0"/>
                <a:cs typeface="Aptos" panose="020B0004020202020204" pitchFamily="34" charset="0"/>
              </a:rPr>
              <a:t>Tech That Delivers Real Impact, Not Just Promises</a:t>
            </a:r>
            <a:endParaRPr lang="en-US" sz="2800" dirty="0">
              <a:solidFill>
                <a:schemeClr val="bg1"/>
              </a:solidFill>
              <a:effectLst/>
              <a:ea typeface="Aptos" panose="020B0004020202020204" pitchFamily="34" charset="0"/>
              <a:cs typeface="Aptos" panose="020B0004020202020204" pitchFamily="34" charset="0"/>
            </a:endParaRPr>
          </a:p>
        </p:txBody>
      </p:sp>
      <p:sp>
        <p:nvSpPr>
          <p:cNvPr id="7" name="Title 2">
            <a:extLst>
              <a:ext uri="{FF2B5EF4-FFF2-40B4-BE49-F238E27FC236}">
                <a16:creationId xmlns:a16="http://schemas.microsoft.com/office/drawing/2014/main" id="{8E2DF5EE-1460-1999-6839-E520485469EF}"/>
              </a:ext>
            </a:extLst>
          </p:cNvPr>
          <p:cNvSpPr txBox="1">
            <a:spLocks/>
          </p:cNvSpPr>
          <p:nvPr/>
        </p:nvSpPr>
        <p:spPr>
          <a:xfrm>
            <a:off x="213755" y="1024002"/>
            <a:ext cx="11768447" cy="852627"/>
          </a:xfrm>
          <a:prstGeom prst="rect">
            <a:avLst/>
          </a:prstGeom>
        </p:spPr>
        <p:txBody>
          <a:bodyPr vert="horz" lIns="0" tIns="0" rIns="0" bIns="0" rtlCol="0" anchor="t">
            <a:noAutofit/>
          </a:bodyPr>
          <a:lstStyle>
            <a:lvl1pPr algn="ctr" defTabSz="914400" rtl="0" eaLnBrk="1" latinLnBrk="0" hangingPunct="1">
              <a:lnSpc>
                <a:spcPct val="90000"/>
              </a:lnSpc>
              <a:spcBef>
                <a:spcPct val="0"/>
              </a:spcBef>
              <a:buNone/>
              <a:defRPr lang="en-US" sz="3200" kern="1200" dirty="0">
                <a:solidFill>
                  <a:schemeClr val="bg1"/>
                </a:solidFill>
                <a:latin typeface="+mj-lt"/>
                <a:ea typeface="+mj-ea"/>
                <a:cs typeface="+mj-cs"/>
              </a:defRPr>
            </a:lvl1pPr>
          </a:lstStyle>
          <a:p>
            <a:r>
              <a:rPr lang="en-US" dirty="0"/>
              <a:t>What do you feel are the most pressing </a:t>
            </a:r>
            <a:br>
              <a:rPr lang="en-US" dirty="0"/>
            </a:br>
            <a:r>
              <a:rPr lang="en-US" dirty="0"/>
              <a:t>“simple things” that need to be solved?</a:t>
            </a:r>
          </a:p>
        </p:txBody>
      </p:sp>
    </p:spTree>
    <p:extLst>
      <p:ext uri="{BB962C8B-B14F-4D97-AF65-F5344CB8AC3E}">
        <p14:creationId xmlns:p14="http://schemas.microsoft.com/office/powerpoint/2010/main" val="1002693303"/>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75B6FA-F26C-E753-635E-682A301CBB27}"/>
              </a:ext>
            </a:extLst>
          </p:cNvPr>
          <p:cNvSpPr>
            <a:spLocks noGrp="1"/>
          </p:cNvSpPr>
          <p:nvPr>
            <p:ph type="title" idx="4294967295"/>
          </p:nvPr>
        </p:nvSpPr>
        <p:spPr>
          <a:xfrm>
            <a:off x="752828" y="428294"/>
            <a:ext cx="10384359" cy="852488"/>
          </a:xfrm>
        </p:spPr>
        <p:txBody>
          <a:bodyPr/>
          <a:lstStyle/>
          <a:p>
            <a:pPr algn="ctr"/>
            <a:r>
              <a:rPr lang="en-US" sz="3200"/>
              <a:t>Provider accessibility challenges </a:t>
            </a:r>
            <a:br>
              <a:rPr lang="en-US" sz="3200"/>
            </a:br>
            <a:r>
              <a:rPr lang="en-US" sz="3200"/>
              <a:t>remain a key concern for patients</a:t>
            </a:r>
          </a:p>
        </p:txBody>
      </p:sp>
      <p:sp>
        <p:nvSpPr>
          <p:cNvPr id="4" name="TextBox 3">
            <a:extLst>
              <a:ext uri="{FF2B5EF4-FFF2-40B4-BE49-F238E27FC236}">
                <a16:creationId xmlns:a16="http://schemas.microsoft.com/office/drawing/2014/main" id="{F9884007-6051-A1C9-B98A-84DD65A54C0B}"/>
              </a:ext>
            </a:extLst>
          </p:cNvPr>
          <p:cNvSpPr txBox="1"/>
          <p:nvPr/>
        </p:nvSpPr>
        <p:spPr>
          <a:xfrm>
            <a:off x="1161332" y="1812238"/>
            <a:ext cx="4547381" cy="16312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40%</a:t>
            </a:r>
            <a:endParaRPr kumimoji="0" lang="en-US" sz="7200" b="1" i="0" u="none" strike="noStrike" kern="1200" cap="none" spc="0" normalizeH="0" baseline="0" noProof="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prstClr val="white"/>
                </a:solidFill>
                <a:effectLst>
                  <a:outerShdw blurRad="127000" dist="254000" dir="7680000" sx="105000" sy="105000" kx="1300200" algn="ctr" rotWithShape="0">
                    <a:prstClr val="black">
                      <a:alpha val="32000"/>
                    </a:prstClr>
                  </a:outerShdw>
                </a:effectLst>
                <a:latin typeface="Arial"/>
              </a:rPr>
              <a:t>of Americans report unreasonable </a:t>
            </a:r>
            <a:br>
              <a:rPr lang="en-US" sz="2000">
                <a:solidFill>
                  <a:prstClr val="white"/>
                </a:solidFill>
                <a:effectLst>
                  <a:outerShdw blurRad="127000" dist="254000" dir="7680000" sx="105000" sy="105000" kx="1300200" algn="ctr" rotWithShape="0">
                    <a:prstClr val="black">
                      <a:alpha val="32000"/>
                    </a:prstClr>
                  </a:outerShdw>
                </a:effectLst>
                <a:latin typeface="Arial"/>
              </a:rPr>
            </a:br>
            <a:r>
              <a:rPr lang="en-US" sz="2000">
                <a:solidFill>
                  <a:prstClr val="white"/>
                </a:solidFill>
                <a:effectLst>
                  <a:outerShdw blurRad="127000" dist="254000" dir="7680000" sx="105000" sy="105000" kx="1300200" algn="ctr" rotWithShape="0">
                    <a:prstClr val="black">
                      <a:alpha val="32000"/>
                    </a:prstClr>
                  </a:outerShdw>
                </a:effectLst>
                <a:latin typeface="Arial"/>
              </a:rPr>
              <a:t>healthcare wait times</a:t>
            </a:r>
            <a:r>
              <a:rPr lang="en-US" sz="1400" baseline="40000">
                <a:solidFill>
                  <a:prstClr val="white"/>
                </a:solidFill>
                <a:effectLst>
                  <a:outerShdw blurRad="127000" dist="254000" dir="7680000" sx="105000" sy="105000" kx="1300200" algn="ctr" rotWithShape="0">
                    <a:prstClr val="black">
                      <a:alpha val="32000"/>
                    </a:prstClr>
                  </a:outerShdw>
                </a:effectLst>
                <a:latin typeface="Arial"/>
              </a:rPr>
              <a:t>1</a:t>
            </a:r>
            <a:endParaRPr kumimoji="0" lang="en-US" i="0" u="none" strike="noStrike" kern="1200" cap="none" spc="0" normalizeH="0" baseline="40000" noProof="0">
              <a:ln>
                <a:noFill/>
              </a:ln>
              <a:solidFill>
                <a:prstClr val="white"/>
              </a:solidFill>
              <a:uLnTx/>
              <a:uFillTx/>
              <a:latin typeface="Arial"/>
              <a:ea typeface="+mn-ea"/>
              <a:cs typeface="+mn-cs"/>
            </a:endParaRPr>
          </a:p>
        </p:txBody>
      </p:sp>
      <p:sp>
        <p:nvSpPr>
          <p:cNvPr id="5" name="TextBox 4">
            <a:extLst>
              <a:ext uri="{FF2B5EF4-FFF2-40B4-BE49-F238E27FC236}">
                <a16:creationId xmlns:a16="http://schemas.microsoft.com/office/drawing/2014/main" id="{C03157EC-A7CA-80F8-672F-78302F4A434E}"/>
              </a:ext>
            </a:extLst>
          </p:cNvPr>
          <p:cNvSpPr txBox="1"/>
          <p:nvPr/>
        </p:nvSpPr>
        <p:spPr>
          <a:xfrm>
            <a:off x="925037" y="3756789"/>
            <a:ext cx="5019970" cy="16312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0" b="1" dirty="0">
                <a:solidFill>
                  <a:prstClr val="white"/>
                </a:solidFill>
                <a:effectLst>
                  <a:outerShdw blurRad="127000" dist="254000" dir="7680000" sx="105000" sy="105000" kx="1300200" algn="ctr" rotWithShape="0">
                    <a:prstClr val="black">
                      <a:alpha val="32000"/>
                    </a:prstClr>
                  </a:outerShdw>
                </a:effectLst>
                <a:latin typeface="Arial"/>
              </a:rPr>
              <a:t>5</a:t>
            </a:r>
            <a:r>
              <a:rPr kumimoji="0" lang="en-US" sz="60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0%</a:t>
            </a:r>
            <a:endParaRPr kumimoji="0" lang="en-US" sz="72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prstClr val="white"/>
                </a:solidFill>
                <a:effectLst>
                  <a:outerShdw blurRad="127000" dist="254000" dir="7680000" sx="105000" sy="105000" kx="1300200" algn="ctr" rotWithShape="0">
                    <a:prstClr val="black">
                      <a:alpha val="32000"/>
                    </a:prstClr>
                  </a:outerShdw>
                </a:effectLst>
                <a:latin typeface="Arial"/>
              </a:rPr>
              <a:t>of those reporting unreasonable </a:t>
            </a:r>
            <a:br>
              <a:rPr lang="en-US" sz="2000" dirty="0">
                <a:solidFill>
                  <a:prstClr val="white"/>
                </a:solidFill>
                <a:effectLst>
                  <a:outerShdw blurRad="127000" dist="254000" dir="7680000" sx="105000" sy="105000" kx="1300200" algn="ctr" rotWithShape="0">
                    <a:prstClr val="black">
                      <a:alpha val="32000"/>
                    </a:prstClr>
                  </a:outerShdw>
                </a:effectLst>
                <a:latin typeface="Arial"/>
              </a:rPr>
            </a:br>
            <a:r>
              <a:rPr lang="en-US" sz="2000" dirty="0">
                <a:solidFill>
                  <a:prstClr val="white"/>
                </a:solidFill>
                <a:effectLst>
                  <a:outerShdw blurRad="127000" dist="254000" dir="7680000" sx="105000" sy="105000" kx="1300200" algn="ctr" rotWithShape="0">
                    <a:prstClr val="black">
                      <a:alpha val="32000"/>
                    </a:prstClr>
                  </a:outerShdw>
                </a:effectLst>
                <a:latin typeface="Arial"/>
              </a:rPr>
              <a:t>wait times never get care</a:t>
            </a:r>
            <a:r>
              <a:rPr lang="en-US" sz="1400" baseline="40000" dirty="0">
                <a:solidFill>
                  <a:prstClr val="white"/>
                </a:solidFill>
                <a:effectLst>
                  <a:outerShdw blurRad="127000" dist="254000" dir="7680000" sx="105000" sy="105000" kx="1300200" algn="ctr" rotWithShape="0">
                    <a:prstClr val="black">
                      <a:alpha val="32000"/>
                    </a:prstClr>
                  </a:outerShdw>
                </a:effectLst>
                <a:latin typeface="Arial"/>
              </a:rPr>
              <a:t>1</a:t>
            </a:r>
            <a:endParaRPr kumimoji="0" lang="en-US" sz="1200" i="0" u="none" strike="noStrike" kern="1200" cap="none" spc="0" normalizeH="0" baseline="40000" noProof="0" dirty="0">
              <a:ln>
                <a:noFill/>
              </a:ln>
              <a:solidFill>
                <a:prstClr val="white"/>
              </a:solidFill>
              <a:uLnTx/>
              <a:uFillTx/>
              <a:latin typeface="Arial"/>
              <a:ea typeface="+mn-ea"/>
              <a:cs typeface="+mn-cs"/>
            </a:endParaRPr>
          </a:p>
        </p:txBody>
      </p:sp>
      <p:pic>
        <p:nvPicPr>
          <p:cNvPr id="7" name="Picture 6">
            <a:extLst>
              <a:ext uri="{FF2B5EF4-FFF2-40B4-BE49-F238E27FC236}">
                <a16:creationId xmlns:a16="http://schemas.microsoft.com/office/drawing/2014/main" id="{60A162B6-3355-2B75-7DAD-A969A9FD99B2}"/>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rcRect l="1408" t="3348"/>
          <a:stretch/>
        </p:blipFill>
        <p:spPr>
          <a:xfrm>
            <a:off x="6390454" y="1744861"/>
            <a:ext cx="4277637" cy="3921116"/>
          </a:xfrm>
          <a:prstGeom prst="roundRect">
            <a:avLst>
              <a:gd name="adj" fmla="val 7758"/>
            </a:avLst>
          </a:prstGeom>
          <a:ln w="28575">
            <a:solidFill>
              <a:schemeClr val="accent2"/>
            </a:solidFill>
          </a:ln>
          <a:effectLst>
            <a:outerShdw blurRad="50800" dist="38100" dir="8100000" algn="tr" rotWithShape="0">
              <a:prstClr val="black">
                <a:alpha val="40000"/>
              </a:prstClr>
            </a:outerShdw>
          </a:effectLst>
        </p:spPr>
      </p:pic>
      <p:sp>
        <p:nvSpPr>
          <p:cNvPr id="8" name="TextBox 7">
            <a:extLst>
              <a:ext uri="{FF2B5EF4-FFF2-40B4-BE49-F238E27FC236}">
                <a16:creationId xmlns:a16="http://schemas.microsoft.com/office/drawing/2014/main" id="{3AFF4C77-30E0-49B2-D62C-0ADC10616F33}"/>
              </a:ext>
            </a:extLst>
          </p:cNvPr>
          <p:cNvSpPr txBox="1"/>
          <p:nvPr/>
        </p:nvSpPr>
        <p:spPr>
          <a:xfrm>
            <a:off x="6380180" y="6393902"/>
            <a:ext cx="4438508" cy="215444"/>
          </a:xfrm>
          <a:prstGeom prst="rect">
            <a:avLst/>
          </a:prstGeom>
          <a:noFill/>
        </p:spPr>
        <p:txBody>
          <a:bodyPr wrap="square">
            <a:spAutoFit/>
          </a:bodyPr>
          <a:lstStyle/>
          <a:p>
            <a:r>
              <a:rPr lang="en-US" sz="800">
                <a:solidFill>
                  <a:schemeClr val="bg1">
                    <a:lumMod val="95000"/>
                  </a:schemeClr>
                </a:solidFill>
              </a:rPr>
              <a:t>1 www.aanp.org/news-feed/two-in-five-americans-report-unreasonable-health-care-wait-times</a:t>
            </a:r>
          </a:p>
        </p:txBody>
      </p:sp>
      <p:sp>
        <p:nvSpPr>
          <p:cNvPr id="11" name="TextBox 10">
            <a:extLst>
              <a:ext uri="{FF2B5EF4-FFF2-40B4-BE49-F238E27FC236}">
                <a16:creationId xmlns:a16="http://schemas.microsoft.com/office/drawing/2014/main" id="{1F56BBDE-7F89-0735-189F-898B81A21398}"/>
              </a:ext>
            </a:extLst>
          </p:cNvPr>
          <p:cNvSpPr txBox="1"/>
          <p:nvPr/>
        </p:nvSpPr>
        <p:spPr>
          <a:xfrm>
            <a:off x="6390454" y="6580023"/>
            <a:ext cx="4438508" cy="215444"/>
          </a:xfrm>
          <a:prstGeom prst="rect">
            <a:avLst/>
          </a:prstGeom>
          <a:noFill/>
        </p:spPr>
        <p:txBody>
          <a:bodyPr wrap="square">
            <a:spAutoFit/>
          </a:bodyPr>
          <a:lstStyle/>
          <a:p>
            <a:r>
              <a:rPr lang="en-US" sz="800">
                <a:solidFill>
                  <a:schemeClr val="bg1"/>
                </a:solidFill>
              </a:rPr>
              <a:t>2 www.tebra.com/theintake/healthcare-reports/patient-scheduling/patient-wait-time-report</a:t>
            </a:r>
          </a:p>
        </p:txBody>
      </p:sp>
      <p:sp>
        <p:nvSpPr>
          <p:cNvPr id="10" name="TextBox 9">
            <a:extLst>
              <a:ext uri="{FF2B5EF4-FFF2-40B4-BE49-F238E27FC236}">
                <a16:creationId xmlns:a16="http://schemas.microsoft.com/office/drawing/2014/main" id="{72B593BF-85FC-CF04-7F80-6DFDF1CB20F6}"/>
              </a:ext>
            </a:extLst>
          </p:cNvPr>
          <p:cNvSpPr txBox="1"/>
          <p:nvPr/>
        </p:nvSpPr>
        <p:spPr>
          <a:xfrm>
            <a:off x="10549894" y="5539993"/>
            <a:ext cx="217540" cy="307777"/>
          </a:xfrm>
          <a:prstGeom prst="rect">
            <a:avLst/>
          </a:prstGeom>
          <a:noFill/>
        </p:spPr>
        <p:txBody>
          <a:bodyPr wrap="square" rtlCol="0">
            <a:spAutoFit/>
          </a:bodyPr>
          <a:lstStyle/>
          <a:p>
            <a:r>
              <a:rPr lang="en-US" sz="1400" baseline="40000" dirty="0">
                <a:solidFill>
                  <a:schemeClr val="bg1"/>
                </a:solidFill>
                <a:latin typeface="Arial"/>
              </a:rPr>
              <a:t>2</a:t>
            </a:r>
            <a:endParaRPr lang="en-US" sz="1400" dirty="0">
              <a:solidFill>
                <a:schemeClr val="bg1"/>
              </a:solidFill>
            </a:endParaRPr>
          </a:p>
        </p:txBody>
      </p:sp>
    </p:spTree>
    <p:extLst>
      <p:ext uri="{BB962C8B-B14F-4D97-AF65-F5344CB8AC3E}">
        <p14:creationId xmlns:p14="http://schemas.microsoft.com/office/powerpoint/2010/main" val="378406986"/>
      </p:ext>
    </p:extLst>
  </p:cSld>
  <p:clrMapOvr>
    <a:masterClrMapping/>
  </p:clrMapOvr>
  <p:transition spd="slow" advTm="10000">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F3C6F-E1A4-1A3E-3F90-6B47623E57E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44015B8-AA7B-DDF8-2B90-F94E67B9D4DA}"/>
              </a:ext>
            </a:extLst>
          </p:cNvPr>
          <p:cNvSpPr>
            <a:spLocks noGrp="1"/>
          </p:cNvSpPr>
          <p:nvPr>
            <p:ph type="title"/>
          </p:nvPr>
        </p:nvSpPr>
        <p:spPr>
          <a:xfrm>
            <a:off x="703997" y="449773"/>
            <a:ext cx="10825702" cy="1029627"/>
          </a:xfrm>
        </p:spPr>
        <p:txBody>
          <a:bodyPr/>
          <a:lstStyle/>
          <a:p>
            <a:pPr>
              <a:lnSpc>
                <a:spcPct val="100000"/>
              </a:lnSpc>
              <a:spcAft>
                <a:spcPts val="600"/>
              </a:spcAft>
            </a:pPr>
            <a:r>
              <a:rPr lang="en-US" dirty="0">
                <a:latin typeface="+mj-lt"/>
                <a:ea typeface="+mj-ea"/>
                <a:cs typeface="+mj-cs"/>
              </a:rPr>
              <a:t>Workforce challenges may impact </a:t>
            </a:r>
            <a:br>
              <a:rPr lang="en-US" dirty="0">
                <a:latin typeface="+mj-lt"/>
                <a:ea typeface="+mj-ea"/>
                <a:cs typeface="+mj-cs"/>
              </a:rPr>
            </a:br>
            <a:r>
              <a:rPr lang="en-US" dirty="0">
                <a:latin typeface="+mj-lt"/>
                <a:ea typeface="+mj-ea"/>
                <a:cs typeface="+mj-cs"/>
              </a:rPr>
              <a:t>the delivery of quality </a:t>
            </a:r>
            <a:r>
              <a:rPr lang="en-US" dirty="0"/>
              <a:t>h</a:t>
            </a:r>
            <a:r>
              <a:rPr lang="en-US" dirty="0">
                <a:latin typeface="+mj-lt"/>
                <a:ea typeface="+mj-ea"/>
                <a:cs typeface="+mj-cs"/>
              </a:rPr>
              <a:t>ealthcare</a:t>
            </a:r>
            <a:endParaRPr lang="en-US" sz="2400" dirty="0"/>
          </a:p>
        </p:txBody>
      </p:sp>
      <p:grpSp>
        <p:nvGrpSpPr>
          <p:cNvPr id="11" name="Group 10">
            <a:extLst>
              <a:ext uri="{FF2B5EF4-FFF2-40B4-BE49-F238E27FC236}">
                <a16:creationId xmlns:a16="http://schemas.microsoft.com/office/drawing/2014/main" id="{FDFCCB5B-08FB-747B-8957-3AD2B591EEFD}"/>
              </a:ext>
            </a:extLst>
          </p:cNvPr>
          <p:cNvGrpSpPr/>
          <p:nvPr/>
        </p:nvGrpSpPr>
        <p:grpSpPr>
          <a:xfrm rot="10800000">
            <a:off x="752437" y="1966842"/>
            <a:ext cx="967124" cy="1670364"/>
            <a:chOff x="8394082" y="1232580"/>
            <a:chExt cx="2008653" cy="4016376"/>
          </a:xfrm>
        </p:grpSpPr>
        <p:sp>
          <p:nvSpPr>
            <p:cNvPr id="12" name="Freeform 9">
              <a:extLst>
                <a:ext uri="{FF2B5EF4-FFF2-40B4-BE49-F238E27FC236}">
                  <a16:creationId xmlns:a16="http://schemas.microsoft.com/office/drawing/2014/main" id="{9EE419A4-FD27-66AA-3450-7F72C5DAE2DF}"/>
                </a:ext>
              </a:extLst>
            </p:cNvPr>
            <p:cNvSpPr>
              <a:spLocks/>
            </p:cNvSpPr>
            <p:nvPr/>
          </p:nvSpPr>
          <p:spPr bwMode="auto">
            <a:xfrm>
              <a:off x="9633920" y="2926443"/>
              <a:ext cx="477838" cy="2322513"/>
            </a:xfrm>
            <a:custGeom>
              <a:avLst/>
              <a:gdLst>
                <a:gd name="T0" fmla="*/ 1502 w 1502"/>
                <a:gd name="T1" fmla="*/ 6480 h 7314"/>
                <a:gd name="T2" fmla="*/ 1501 w 1502"/>
                <a:gd name="T3" fmla="*/ 441 h 7314"/>
                <a:gd name="T4" fmla="*/ 1195 w 1502"/>
                <a:gd name="T5" fmla="*/ 608 h 7314"/>
                <a:gd name="T6" fmla="*/ 0 w 1502"/>
                <a:gd name="T7" fmla="*/ 0 h 7314"/>
                <a:gd name="T8" fmla="*/ 0 w 1502"/>
                <a:gd name="T9" fmla="*/ 7314 h 7314"/>
                <a:gd name="T10" fmla="*/ 1502 w 1502"/>
                <a:gd name="T11" fmla="*/ 6480 h 7314"/>
              </a:gdLst>
              <a:ahLst/>
              <a:cxnLst>
                <a:cxn ang="0">
                  <a:pos x="T0" y="T1"/>
                </a:cxn>
                <a:cxn ang="0">
                  <a:pos x="T2" y="T3"/>
                </a:cxn>
                <a:cxn ang="0">
                  <a:pos x="T4" y="T5"/>
                </a:cxn>
                <a:cxn ang="0">
                  <a:pos x="T6" y="T7"/>
                </a:cxn>
                <a:cxn ang="0">
                  <a:pos x="T8" y="T9"/>
                </a:cxn>
                <a:cxn ang="0">
                  <a:pos x="T10" y="T11"/>
                </a:cxn>
              </a:cxnLst>
              <a:rect l="0" t="0" r="r" b="b"/>
              <a:pathLst>
                <a:path w="1502" h="7314">
                  <a:moveTo>
                    <a:pt x="1502" y="6480"/>
                  </a:moveTo>
                  <a:lnTo>
                    <a:pt x="1501" y="441"/>
                  </a:lnTo>
                  <a:lnTo>
                    <a:pt x="1195" y="608"/>
                  </a:lnTo>
                  <a:lnTo>
                    <a:pt x="0" y="0"/>
                  </a:lnTo>
                  <a:lnTo>
                    <a:pt x="0" y="7314"/>
                  </a:lnTo>
                  <a:lnTo>
                    <a:pt x="1502" y="648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13" name="Freeform 10">
              <a:extLst>
                <a:ext uri="{FF2B5EF4-FFF2-40B4-BE49-F238E27FC236}">
                  <a16:creationId xmlns:a16="http://schemas.microsoft.com/office/drawing/2014/main" id="{E92B42BA-9AD4-386C-73A2-B90250F8F21B}"/>
                </a:ext>
              </a:extLst>
            </p:cNvPr>
            <p:cNvSpPr>
              <a:spLocks/>
            </p:cNvSpPr>
            <p:nvPr/>
          </p:nvSpPr>
          <p:spPr bwMode="auto">
            <a:xfrm>
              <a:off x="9289897" y="1232580"/>
              <a:ext cx="1112838" cy="1887538"/>
            </a:xfrm>
            <a:custGeom>
              <a:avLst/>
              <a:gdLst>
                <a:gd name="T0" fmla="*/ 1231 w 3507"/>
                <a:gd name="T1" fmla="*/ 0 h 5945"/>
                <a:gd name="T2" fmla="*/ 0 w 3507"/>
                <a:gd name="T3" fmla="*/ 676 h 5945"/>
                <a:gd name="T4" fmla="*/ 2254 w 3507"/>
                <a:gd name="T5" fmla="*/ 5945 h 5945"/>
                <a:gd name="T6" fmla="*/ 3507 w 3507"/>
                <a:gd name="T7" fmla="*/ 5265 h 5945"/>
                <a:gd name="T8" fmla="*/ 1231 w 3507"/>
                <a:gd name="T9" fmla="*/ 0 h 5945"/>
              </a:gdLst>
              <a:ahLst/>
              <a:cxnLst>
                <a:cxn ang="0">
                  <a:pos x="T0" y="T1"/>
                </a:cxn>
                <a:cxn ang="0">
                  <a:pos x="T2" y="T3"/>
                </a:cxn>
                <a:cxn ang="0">
                  <a:pos x="T4" y="T5"/>
                </a:cxn>
                <a:cxn ang="0">
                  <a:pos x="T6" y="T7"/>
                </a:cxn>
                <a:cxn ang="0">
                  <a:pos x="T8" y="T9"/>
                </a:cxn>
              </a:cxnLst>
              <a:rect l="0" t="0" r="r" b="b"/>
              <a:pathLst>
                <a:path w="3507" h="5945">
                  <a:moveTo>
                    <a:pt x="1231" y="0"/>
                  </a:moveTo>
                  <a:lnTo>
                    <a:pt x="0" y="676"/>
                  </a:lnTo>
                  <a:lnTo>
                    <a:pt x="2254" y="5945"/>
                  </a:lnTo>
                  <a:lnTo>
                    <a:pt x="3507" y="5265"/>
                  </a:lnTo>
                  <a:lnTo>
                    <a:pt x="1231"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14" name="Freeform 11">
              <a:extLst>
                <a:ext uri="{FF2B5EF4-FFF2-40B4-BE49-F238E27FC236}">
                  <a16:creationId xmlns:a16="http://schemas.microsoft.com/office/drawing/2014/main" id="{3C5AB85D-5B9D-115F-328A-49419BF3AC3F}"/>
                </a:ext>
              </a:extLst>
            </p:cNvPr>
            <p:cNvSpPr>
              <a:spLocks/>
            </p:cNvSpPr>
            <p:nvPr/>
          </p:nvSpPr>
          <p:spPr bwMode="auto">
            <a:xfrm>
              <a:off x="8394082" y="1446890"/>
              <a:ext cx="1619251" cy="3802065"/>
            </a:xfrm>
            <a:custGeom>
              <a:avLst/>
              <a:gdLst>
                <a:gd name="T0" fmla="*/ 3906 w 5101"/>
                <a:gd name="T1" fmla="*/ 11975 h 11975"/>
                <a:gd name="T2" fmla="*/ 3906 w 5101"/>
                <a:gd name="T3" fmla="*/ 4661 h 11975"/>
                <a:gd name="T4" fmla="*/ 5101 w 5101"/>
                <a:gd name="T5" fmla="*/ 5269 h 11975"/>
                <a:gd name="T6" fmla="*/ 2847 w 5101"/>
                <a:gd name="T7" fmla="*/ 0 h 11975"/>
                <a:gd name="T8" fmla="*/ 0 w 5101"/>
                <a:gd name="T9" fmla="*/ 2671 h 11975"/>
                <a:gd name="T10" fmla="*/ 1127 w 5101"/>
                <a:gd name="T11" fmla="*/ 3245 h 11975"/>
                <a:gd name="T12" fmla="*/ 1127 w 5101"/>
                <a:gd name="T13" fmla="*/ 10559 h 11975"/>
                <a:gd name="T14" fmla="*/ 3906 w 5101"/>
                <a:gd name="T15" fmla="*/ 11975 h 119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01" h="11975">
                  <a:moveTo>
                    <a:pt x="3906" y="11975"/>
                  </a:moveTo>
                  <a:lnTo>
                    <a:pt x="3906" y="4661"/>
                  </a:lnTo>
                  <a:lnTo>
                    <a:pt x="5101" y="5269"/>
                  </a:lnTo>
                  <a:lnTo>
                    <a:pt x="2847" y="0"/>
                  </a:lnTo>
                  <a:lnTo>
                    <a:pt x="0" y="2671"/>
                  </a:lnTo>
                  <a:lnTo>
                    <a:pt x="1127" y="3245"/>
                  </a:lnTo>
                  <a:lnTo>
                    <a:pt x="1127" y="10559"/>
                  </a:lnTo>
                  <a:lnTo>
                    <a:pt x="3906" y="1197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3C774BCC-B691-EEFC-1A11-2DA6E9C2BB63}"/>
              </a:ext>
            </a:extLst>
          </p:cNvPr>
          <p:cNvSpPr txBox="1"/>
          <p:nvPr/>
        </p:nvSpPr>
        <p:spPr>
          <a:xfrm>
            <a:off x="1506911" y="1966842"/>
            <a:ext cx="2304730" cy="206210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124K</a:t>
            </a:r>
            <a:endParaRPr kumimoji="0" lang="en-US" sz="72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physician shor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by 2034</a:t>
            </a:r>
            <a:r>
              <a:rPr kumimoji="0" lang="en-US" sz="1400" i="0" u="none" strike="noStrike" kern="1200" cap="none" spc="0" normalizeH="0" baseline="50000" noProof="0" dirty="0">
                <a:ln>
                  <a:noFill/>
                </a:ln>
                <a:solidFill>
                  <a:prstClr val="white"/>
                </a:solidFill>
                <a:uLnTx/>
                <a:uFillTx/>
                <a:latin typeface="Arial"/>
                <a:ea typeface="+mn-ea"/>
                <a:cs typeface="+mn-cs"/>
              </a:rPr>
              <a:t>1</a:t>
            </a:r>
            <a:endParaRPr kumimoji="0" lang="en-US" sz="2000" i="0" u="none" strike="noStrike" kern="1200" cap="none" spc="0" normalizeH="0" baseline="50000" noProof="0" dirty="0">
              <a:ln>
                <a:noFill/>
              </a:ln>
              <a:solidFill>
                <a:prstClr val="white"/>
              </a:solidFill>
              <a:uLnTx/>
              <a:uFillTx/>
              <a:latin typeface="Arial"/>
              <a:ea typeface="+mn-ea"/>
              <a:cs typeface="+mn-cs"/>
            </a:endParaRPr>
          </a:p>
        </p:txBody>
      </p:sp>
      <p:sp>
        <p:nvSpPr>
          <p:cNvPr id="23" name="TextBox 22">
            <a:extLst>
              <a:ext uri="{FF2B5EF4-FFF2-40B4-BE49-F238E27FC236}">
                <a16:creationId xmlns:a16="http://schemas.microsoft.com/office/drawing/2014/main" id="{8E36A77E-9BF1-AE6C-1762-84BF67CA09B0}"/>
              </a:ext>
            </a:extLst>
          </p:cNvPr>
          <p:cNvSpPr txBox="1"/>
          <p:nvPr/>
        </p:nvSpPr>
        <p:spPr>
          <a:xfrm>
            <a:off x="4183218" y="3049363"/>
            <a:ext cx="1029269" cy="997427"/>
          </a:xfrm>
          <a:prstGeom prst="rect">
            <a:avLst/>
          </a:prstGeom>
        </p:spPr>
        <p:txBody>
          <a:bodyPr lIns="0" tIns="0" rIns="0" bIns="0" anchor="t">
            <a:scene3d>
              <a:camera prst="isometricOffAxis1Right"/>
              <a:lightRig rig="flat" dir="t"/>
            </a:scene3d>
            <a:sp3d extrusionH="406400">
              <a:extrusionClr>
                <a:schemeClr val="accent6"/>
              </a:extrusionClr>
            </a:sp3d>
          </a:bodyPr>
          <a:lstStyle>
            <a:lvl1pPr algn="ctr">
              <a:lnSpc>
                <a:spcPct val="90000"/>
              </a:lnSpc>
              <a:spcBef>
                <a:spcPct val="0"/>
              </a:spcBef>
              <a:buNone/>
              <a:defRPr lang="en-US" sz="3200" dirty="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800" b="1" i="0" u="none" strike="noStrike" kern="1200" cap="none" spc="0" normalizeH="0" baseline="0" noProof="0" dirty="0">
                <a:ln>
                  <a:noFill/>
                </a:ln>
                <a:solidFill>
                  <a:srgbClr val="3E418C"/>
                </a:solidFill>
                <a:effectLst/>
                <a:uLnTx/>
                <a:uFillTx/>
                <a:latin typeface="Arial"/>
                <a:ea typeface="+mj-ea"/>
                <a:cs typeface="+mj-cs"/>
              </a:rPr>
              <a:t>$</a:t>
            </a:r>
          </a:p>
        </p:txBody>
      </p:sp>
      <p:sp>
        <p:nvSpPr>
          <p:cNvPr id="24" name="TextBox 23">
            <a:extLst>
              <a:ext uri="{FF2B5EF4-FFF2-40B4-BE49-F238E27FC236}">
                <a16:creationId xmlns:a16="http://schemas.microsoft.com/office/drawing/2014/main" id="{67AB5E26-D9CD-00D5-8A41-524EBEA08227}"/>
              </a:ext>
            </a:extLst>
          </p:cNvPr>
          <p:cNvSpPr txBox="1"/>
          <p:nvPr/>
        </p:nvSpPr>
        <p:spPr>
          <a:xfrm>
            <a:off x="5364195" y="2474749"/>
            <a:ext cx="2626917" cy="2964867"/>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prstClr val="white"/>
                </a:solidFill>
                <a:effectLst>
                  <a:outerShdw blurRad="127000" dist="254000" dir="7680000" sx="105000" sy="105000" kx="1300200" algn="ctr" rotWithShape="0">
                    <a:prstClr val="black">
                      <a:alpha val="32000"/>
                    </a:prstClr>
                  </a:outerShdw>
                </a:effectLst>
                <a:latin typeface="Arial"/>
              </a:rPr>
              <a:t>T</a:t>
            </a:r>
            <a:r>
              <a:rPr kumimoji="0" lang="en-US" sz="2000" b="0"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he loss of one physici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CAN COST BETWEEN</a:t>
            </a:r>
            <a:endParaRPr kumimoji="0" lang="en-US" sz="66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500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AND</a:t>
            </a:r>
            <a:r>
              <a:rPr kumimoji="0" lang="en-US" sz="24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1M</a:t>
            </a:r>
            <a:endParaRPr kumimoji="0" lang="en-US" sz="4800" b="1" i="0" u="none" strike="noStrike" kern="1200" cap="none" spc="0" normalizeH="0" baseline="10000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endParaRPr>
          </a:p>
        </p:txBody>
      </p:sp>
      <p:sp>
        <p:nvSpPr>
          <p:cNvPr id="27" name="Title 2">
            <a:extLst>
              <a:ext uri="{FF2B5EF4-FFF2-40B4-BE49-F238E27FC236}">
                <a16:creationId xmlns:a16="http://schemas.microsoft.com/office/drawing/2014/main" id="{B83173AF-31A0-CF1E-A4DA-72F0E8DA73D8}"/>
              </a:ext>
            </a:extLst>
          </p:cNvPr>
          <p:cNvSpPr txBox="1">
            <a:spLocks/>
          </p:cNvSpPr>
          <p:nvPr/>
        </p:nvSpPr>
        <p:spPr>
          <a:xfrm>
            <a:off x="752437" y="1301846"/>
            <a:ext cx="10687126" cy="601583"/>
          </a:xfrm>
          <a:prstGeom prst="rect">
            <a:avLst/>
          </a:prstGeom>
        </p:spPr>
        <p:txBody>
          <a:bodyPr lIns="0" tIns="0" rIns="0" bIns="0" anchor="t"/>
          <a:lstStyle>
            <a:lvl1pPr algn="ctr" defTabSz="914400" rtl="0" eaLnBrk="1" latinLnBrk="0" hangingPunct="1">
              <a:lnSpc>
                <a:spcPct val="90000"/>
              </a:lnSpc>
              <a:spcBef>
                <a:spcPct val="0"/>
              </a:spcBef>
              <a:buNone/>
              <a:defRPr lang="en-US" sz="3200" kern="1200" dirty="0">
                <a:solidFill>
                  <a:schemeClr val="bg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800" b="1" i="0" u="none" strike="noStrike" kern="1200" cap="none" spc="0" normalizeH="0" baseline="0" noProof="0">
              <a:ln>
                <a:noFill/>
              </a:ln>
              <a:solidFill>
                <a:srgbClr val="3E418C">
                  <a:lumMod val="20000"/>
                  <a:lumOff val="80000"/>
                </a:srgbClr>
              </a:solidFill>
              <a:effectLst/>
              <a:uLnTx/>
              <a:uFillTx/>
              <a:latin typeface="Arial"/>
              <a:ea typeface="+mj-ea"/>
              <a:cs typeface="+mj-cs"/>
            </a:endParaRPr>
          </a:p>
        </p:txBody>
      </p:sp>
      <p:cxnSp>
        <p:nvCxnSpPr>
          <p:cNvPr id="7" name="Straight Connector 6">
            <a:extLst>
              <a:ext uri="{FF2B5EF4-FFF2-40B4-BE49-F238E27FC236}">
                <a16:creationId xmlns:a16="http://schemas.microsoft.com/office/drawing/2014/main" id="{E8D33AC6-1D1D-8243-CDA5-81D313A31F60}"/>
              </a:ext>
            </a:extLst>
          </p:cNvPr>
          <p:cNvCxnSpPr>
            <a:cxnSpLocks/>
          </p:cNvCxnSpPr>
          <p:nvPr/>
        </p:nvCxnSpPr>
        <p:spPr>
          <a:xfrm>
            <a:off x="752437" y="1647459"/>
            <a:ext cx="10703834" cy="0"/>
          </a:xfrm>
          <a:prstGeom prst="line">
            <a:avLst/>
          </a:prstGeom>
          <a:noFill/>
          <a:ln w="12700">
            <a:gradFill>
              <a:gsLst>
                <a:gs pos="20000">
                  <a:srgbClr val="8291FF"/>
                </a:gs>
                <a:gs pos="50000">
                  <a:schemeClr val="bg1"/>
                </a:gs>
                <a:gs pos="80000">
                  <a:srgbClr val="8291FF"/>
                </a:gs>
              </a:gsLst>
              <a:lin ang="0" scaled="0"/>
            </a:gradFill>
            <a:headEnd type="oval" w="med" len="med"/>
            <a:tailEnd type="oval" w="med" len="med"/>
          </a:ln>
        </p:spPr>
        <p:style>
          <a:lnRef idx="2">
            <a:schemeClr val="accent1">
              <a:shade val="15000"/>
            </a:schemeClr>
          </a:lnRef>
          <a:fillRef idx="1">
            <a:schemeClr val="accent1"/>
          </a:fillRef>
          <a:effectRef idx="0">
            <a:schemeClr val="accent1"/>
          </a:effectRef>
          <a:fontRef idx="minor">
            <a:schemeClr val="lt1"/>
          </a:fontRef>
        </p:style>
      </p:cxnSp>
      <p:grpSp>
        <p:nvGrpSpPr>
          <p:cNvPr id="4" name="Group 3">
            <a:extLst>
              <a:ext uri="{FF2B5EF4-FFF2-40B4-BE49-F238E27FC236}">
                <a16:creationId xmlns:a16="http://schemas.microsoft.com/office/drawing/2014/main" id="{9A19A21A-DA33-1987-D3F5-B11F1417B5A6}"/>
              </a:ext>
            </a:extLst>
          </p:cNvPr>
          <p:cNvGrpSpPr/>
          <p:nvPr/>
        </p:nvGrpSpPr>
        <p:grpSpPr>
          <a:xfrm>
            <a:off x="8288009" y="4031784"/>
            <a:ext cx="1029269" cy="1029269"/>
            <a:chOff x="5044875" y="4917946"/>
            <a:chExt cx="934704" cy="934704"/>
          </a:xfrm>
        </p:grpSpPr>
        <p:sp>
          <p:nvSpPr>
            <p:cNvPr id="28" name="Oval 27">
              <a:extLst>
                <a:ext uri="{FF2B5EF4-FFF2-40B4-BE49-F238E27FC236}">
                  <a16:creationId xmlns:a16="http://schemas.microsoft.com/office/drawing/2014/main" id="{F1034713-F0B3-FEC8-ED08-7F0D9EB2AEBD}"/>
                </a:ext>
              </a:extLst>
            </p:cNvPr>
            <p:cNvSpPr/>
            <p:nvPr/>
          </p:nvSpPr>
          <p:spPr>
            <a:xfrm>
              <a:off x="5044875" y="4917946"/>
              <a:ext cx="934704" cy="934704"/>
            </a:xfrm>
            <a:prstGeom prst="ellipse">
              <a:avLst/>
            </a:prstGeom>
            <a:solidFill>
              <a:schemeClr val="tx2"/>
            </a:solidFill>
            <a:ln>
              <a:noFill/>
            </a:ln>
            <a:effectLst>
              <a:outerShdw blurRad="152400" dir="5400000" sx="90000" sy="-19000" rotWithShape="0">
                <a:prstClr val="black">
                  <a:alpha val="25000"/>
                </a:prstClr>
              </a:outerShdw>
            </a:effectLst>
            <a:scene3d>
              <a:camera prst="isometricOffAxis1Right"/>
              <a:lightRig rig="contrasting" dir="t"/>
            </a:scene3d>
            <a:sp3d extrusionH="304800">
              <a:extrusionClr>
                <a:schemeClr val="accent6"/>
              </a:extrusion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D89B9945-D05B-9857-0213-2DC501E98CFC}"/>
                </a:ext>
              </a:extLst>
            </p:cNvPr>
            <p:cNvGrpSpPr/>
            <p:nvPr/>
          </p:nvGrpSpPr>
          <p:grpSpPr>
            <a:xfrm>
              <a:off x="5280878" y="5072661"/>
              <a:ext cx="463933" cy="532070"/>
              <a:chOff x="9161702" y="1376735"/>
              <a:chExt cx="497205" cy="570229"/>
            </a:xfrm>
            <a:solidFill>
              <a:schemeClr val="bg1"/>
            </a:solidFill>
            <a:scene3d>
              <a:camera prst="isometricOffAxis1Right">
                <a:rot lat="1080000" lon="19500000" rev="0"/>
              </a:camera>
              <a:lightRig rig="threePt" dir="t"/>
            </a:scene3d>
          </p:grpSpPr>
          <p:sp>
            <p:nvSpPr>
              <p:cNvPr id="18" name="Freeform 17">
                <a:extLst>
                  <a:ext uri="{FF2B5EF4-FFF2-40B4-BE49-F238E27FC236}">
                    <a16:creationId xmlns:a16="http://schemas.microsoft.com/office/drawing/2014/main" id="{089C24E4-FB84-4E2B-10A1-2B7AB5B303B4}"/>
                  </a:ext>
                </a:extLst>
              </p:cNvPr>
              <p:cNvSpPr/>
              <p:nvPr/>
            </p:nvSpPr>
            <p:spPr>
              <a:xfrm>
                <a:off x="9161702" y="1666295"/>
                <a:ext cx="497205" cy="280669"/>
              </a:xfrm>
              <a:custGeom>
                <a:avLst/>
                <a:gdLst>
                  <a:gd name="connsiteX0" fmla="*/ 554355 w 745807"/>
                  <a:gd name="connsiteY0" fmla="*/ 0 h 421004"/>
                  <a:gd name="connsiteX1" fmla="*/ 192405 w 745807"/>
                  <a:gd name="connsiteY1" fmla="*/ 0 h 421004"/>
                  <a:gd name="connsiteX2" fmla="*/ 0 w 745807"/>
                  <a:gd name="connsiteY2" fmla="*/ 192405 h 421004"/>
                  <a:gd name="connsiteX3" fmla="*/ 0 w 745807"/>
                  <a:gd name="connsiteY3" fmla="*/ 409575 h 421004"/>
                  <a:gd name="connsiteX4" fmla="*/ 11430 w 745807"/>
                  <a:gd name="connsiteY4" fmla="*/ 421005 h 421004"/>
                  <a:gd name="connsiteX5" fmla="*/ 734378 w 745807"/>
                  <a:gd name="connsiteY5" fmla="*/ 421005 h 421004"/>
                  <a:gd name="connsiteX6" fmla="*/ 745808 w 745807"/>
                  <a:gd name="connsiteY6" fmla="*/ 409575 h 421004"/>
                  <a:gd name="connsiteX7" fmla="*/ 745808 w 745807"/>
                  <a:gd name="connsiteY7" fmla="*/ 192405 h 421004"/>
                  <a:gd name="connsiteX8" fmla="*/ 554355 w 745807"/>
                  <a:gd name="connsiteY8" fmla="*/ 0 h 421004"/>
                  <a:gd name="connsiteX9" fmla="*/ 462915 w 745807"/>
                  <a:gd name="connsiteY9" fmla="*/ 22860 h 421004"/>
                  <a:gd name="connsiteX10" fmla="*/ 373380 w 745807"/>
                  <a:gd name="connsiteY10" fmla="*/ 201930 h 421004"/>
                  <a:gd name="connsiteX11" fmla="*/ 283845 w 745807"/>
                  <a:gd name="connsiteY11" fmla="*/ 22860 h 421004"/>
                  <a:gd name="connsiteX12" fmla="*/ 462915 w 745807"/>
                  <a:gd name="connsiteY12" fmla="*/ 22860 h 421004"/>
                  <a:gd name="connsiteX13" fmla="*/ 193358 w 745807"/>
                  <a:gd name="connsiteY13" fmla="*/ 240030 h 421004"/>
                  <a:gd name="connsiteX14" fmla="*/ 217170 w 745807"/>
                  <a:gd name="connsiteY14" fmla="*/ 264795 h 421004"/>
                  <a:gd name="connsiteX15" fmla="*/ 192405 w 745807"/>
                  <a:gd name="connsiteY15" fmla="*/ 289560 h 421004"/>
                  <a:gd name="connsiteX16" fmla="*/ 167640 w 745807"/>
                  <a:gd name="connsiteY16" fmla="*/ 264795 h 421004"/>
                  <a:gd name="connsiteX17" fmla="*/ 193358 w 745807"/>
                  <a:gd name="connsiteY17" fmla="*/ 240030 h 421004"/>
                  <a:gd name="connsiteX18" fmla="*/ 193358 w 745807"/>
                  <a:gd name="connsiteY18" fmla="*/ 240030 h 421004"/>
                  <a:gd name="connsiteX19" fmla="*/ 722948 w 745807"/>
                  <a:gd name="connsiteY19" fmla="*/ 397192 h 421004"/>
                  <a:gd name="connsiteX20" fmla="*/ 23813 w 745807"/>
                  <a:gd name="connsiteY20" fmla="*/ 397192 h 421004"/>
                  <a:gd name="connsiteX21" fmla="*/ 23813 w 745807"/>
                  <a:gd name="connsiteY21" fmla="*/ 192405 h 421004"/>
                  <a:gd name="connsiteX22" fmla="*/ 174308 w 745807"/>
                  <a:gd name="connsiteY22" fmla="*/ 24765 h 421004"/>
                  <a:gd name="connsiteX23" fmla="*/ 181928 w 745807"/>
                  <a:gd name="connsiteY23" fmla="*/ 23813 h 421004"/>
                  <a:gd name="connsiteX24" fmla="*/ 181928 w 745807"/>
                  <a:gd name="connsiteY24" fmla="*/ 218122 h 421004"/>
                  <a:gd name="connsiteX25" fmla="*/ 177165 w 745807"/>
                  <a:gd name="connsiteY25" fmla="*/ 220027 h 421004"/>
                  <a:gd name="connsiteX26" fmla="*/ 145733 w 745807"/>
                  <a:gd name="connsiteY26" fmla="*/ 264795 h 421004"/>
                  <a:gd name="connsiteX27" fmla="*/ 193358 w 745807"/>
                  <a:gd name="connsiteY27" fmla="*/ 312420 h 421004"/>
                  <a:gd name="connsiteX28" fmla="*/ 240983 w 745807"/>
                  <a:gd name="connsiteY28" fmla="*/ 264795 h 421004"/>
                  <a:gd name="connsiteX29" fmla="*/ 209550 w 745807"/>
                  <a:gd name="connsiteY29" fmla="*/ 220027 h 421004"/>
                  <a:gd name="connsiteX30" fmla="*/ 204788 w 745807"/>
                  <a:gd name="connsiteY30" fmla="*/ 218122 h 421004"/>
                  <a:gd name="connsiteX31" fmla="*/ 204788 w 745807"/>
                  <a:gd name="connsiteY31" fmla="*/ 22860 h 421004"/>
                  <a:gd name="connsiteX32" fmla="*/ 258128 w 745807"/>
                  <a:gd name="connsiteY32" fmla="*/ 22860 h 421004"/>
                  <a:gd name="connsiteX33" fmla="*/ 362903 w 745807"/>
                  <a:gd name="connsiteY33" fmla="*/ 233363 h 421004"/>
                  <a:gd name="connsiteX34" fmla="*/ 383858 w 745807"/>
                  <a:gd name="connsiteY34" fmla="*/ 233363 h 421004"/>
                  <a:gd name="connsiteX35" fmla="*/ 488633 w 745807"/>
                  <a:gd name="connsiteY35" fmla="*/ 22860 h 421004"/>
                  <a:gd name="connsiteX36" fmla="*/ 541973 w 745807"/>
                  <a:gd name="connsiteY36" fmla="*/ 22860 h 421004"/>
                  <a:gd name="connsiteX37" fmla="*/ 541973 w 745807"/>
                  <a:gd name="connsiteY37" fmla="*/ 144780 h 421004"/>
                  <a:gd name="connsiteX38" fmla="*/ 537210 w 745807"/>
                  <a:gd name="connsiteY38" fmla="*/ 145732 h 421004"/>
                  <a:gd name="connsiteX39" fmla="*/ 460058 w 745807"/>
                  <a:gd name="connsiteY39" fmla="*/ 196215 h 421004"/>
                  <a:gd name="connsiteX40" fmla="*/ 433388 w 745807"/>
                  <a:gd name="connsiteY40" fmla="*/ 257175 h 421004"/>
                  <a:gd name="connsiteX41" fmla="*/ 433388 w 745807"/>
                  <a:gd name="connsiteY41" fmla="*/ 335280 h 421004"/>
                  <a:gd name="connsiteX42" fmla="*/ 444818 w 745807"/>
                  <a:gd name="connsiteY42" fmla="*/ 346710 h 421004"/>
                  <a:gd name="connsiteX43" fmla="*/ 481013 w 745807"/>
                  <a:gd name="connsiteY43" fmla="*/ 346710 h 421004"/>
                  <a:gd name="connsiteX44" fmla="*/ 492443 w 745807"/>
                  <a:gd name="connsiteY44" fmla="*/ 335280 h 421004"/>
                  <a:gd name="connsiteX45" fmla="*/ 481013 w 745807"/>
                  <a:gd name="connsiteY45" fmla="*/ 323850 h 421004"/>
                  <a:gd name="connsiteX46" fmla="*/ 456247 w 745807"/>
                  <a:gd name="connsiteY46" fmla="*/ 323850 h 421004"/>
                  <a:gd name="connsiteX47" fmla="*/ 456247 w 745807"/>
                  <a:gd name="connsiteY47" fmla="*/ 257175 h 421004"/>
                  <a:gd name="connsiteX48" fmla="*/ 475297 w 745807"/>
                  <a:gd name="connsiteY48" fmla="*/ 212407 h 421004"/>
                  <a:gd name="connsiteX49" fmla="*/ 552450 w 745807"/>
                  <a:gd name="connsiteY49" fmla="*/ 165735 h 421004"/>
                  <a:gd name="connsiteX50" fmla="*/ 629603 w 745807"/>
                  <a:gd name="connsiteY50" fmla="*/ 212407 h 421004"/>
                  <a:gd name="connsiteX51" fmla="*/ 649605 w 745807"/>
                  <a:gd name="connsiteY51" fmla="*/ 257175 h 421004"/>
                  <a:gd name="connsiteX52" fmla="*/ 649605 w 745807"/>
                  <a:gd name="connsiteY52" fmla="*/ 322897 h 421004"/>
                  <a:gd name="connsiteX53" fmla="*/ 624840 w 745807"/>
                  <a:gd name="connsiteY53" fmla="*/ 322897 h 421004"/>
                  <a:gd name="connsiteX54" fmla="*/ 613410 w 745807"/>
                  <a:gd name="connsiteY54" fmla="*/ 334328 h 421004"/>
                  <a:gd name="connsiteX55" fmla="*/ 624840 w 745807"/>
                  <a:gd name="connsiteY55" fmla="*/ 345757 h 421004"/>
                  <a:gd name="connsiteX56" fmla="*/ 661035 w 745807"/>
                  <a:gd name="connsiteY56" fmla="*/ 345757 h 421004"/>
                  <a:gd name="connsiteX57" fmla="*/ 672465 w 745807"/>
                  <a:gd name="connsiteY57" fmla="*/ 334328 h 421004"/>
                  <a:gd name="connsiteX58" fmla="*/ 672465 w 745807"/>
                  <a:gd name="connsiteY58" fmla="*/ 259080 h 421004"/>
                  <a:gd name="connsiteX59" fmla="*/ 644843 w 745807"/>
                  <a:gd name="connsiteY59" fmla="*/ 197167 h 421004"/>
                  <a:gd name="connsiteX60" fmla="*/ 568643 w 745807"/>
                  <a:gd name="connsiteY60" fmla="*/ 147638 h 421004"/>
                  <a:gd name="connsiteX61" fmla="*/ 563880 w 745807"/>
                  <a:gd name="connsiteY61" fmla="*/ 146685 h 421004"/>
                  <a:gd name="connsiteX62" fmla="*/ 563880 w 745807"/>
                  <a:gd name="connsiteY62" fmla="*/ 22860 h 421004"/>
                  <a:gd name="connsiteX63" fmla="*/ 571500 w 745807"/>
                  <a:gd name="connsiteY63" fmla="*/ 23813 h 421004"/>
                  <a:gd name="connsiteX64" fmla="*/ 721995 w 745807"/>
                  <a:gd name="connsiteY64" fmla="*/ 191452 h 421004"/>
                  <a:gd name="connsiteX65" fmla="*/ 721995 w 745807"/>
                  <a:gd name="connsiteY65" fmla="*/ 397192 h 42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45807" h="421004">
                    <a:moveTo>
                      <a:pt x="554355" y="0"/>
                    </a:moveTo>
                    <a:lnTo>
                      <a:pt x="192405" y="0"/>
                    </a:lnTo>
                    <a:cubicBezTo>
                      <a:pt x="86678" y="0"/>
                      <a:pt x="0" y="86677"/>
                      <a:pt x="0" y="192405"/>
                    </a:cubicBezTo>
                    <a:lnTo>
                      <a:pt x="0" y="409575"/>
                    </a:lnTo>
                    <a:cubicBezTo>
                      <a:pt x="0" y="416242"/>
                      <a:pt x="4763" y="421005"/>
                      <a:pt x="11430" y="421005"/>
                    </a:cubicBezTo>
                    <a:lnTo>
                      <a:pt x="734378" y="421005"/>
                    </a:lnTo>
                    <a:cubicBezTo>
                      <a:pt x="741045" y="421005"/>
                      <a:pt x="745808" y="416242"/>
                      <a:pt x="745808" y="409575"/>
                    </a:cubicBezTo>
                    <a:lnTo>
                      <a:pt x="745808" y="192405"/>
                    </a:lnTo>
                    <a:cubicBezTo>
                      <a:pt x="745808" y="85725"/>
                      <a:pt x="660083" y="0"/>
                      <a:pt x="554355" y="0"/>
                    </a:cubicBezTo>
                    <a:close/>
                    <a:moveTo>
                      <a:pt x="462915" y="22860"/>
                    </a:moveTo>
                    <a:lnTo>
                      <a:pt x="373380" y="201930"/>
                    </a:lnTo>
                    <a:lnTo>
                      <a:pt x="283845" y="22860"/>
                    </a:lnTo>
                    <a:lnTo>
                      <a:pt x="462915" y="22860"/>
                    </a:lnTo>
                    <a:close/>
                    <a:moveTo>
                      <a:pt x="193358" y="240030"/>
                    </a:moveTo>
                    <a:cubicBezTo>
                      <a:pt x="206693" y="240030"/>
                      <a:pt x="217170" y="251460"/>
                      <a:pt x="217170" y="264795"/>
                    </a:cubicBezTo>
                    <a:cubicBezTo>
                      <a:pt x="217170" y="278130"/>
                      <a:pt x="205740" y="289560"/>
                      <a:pt x="192405" y="289560"/>
                    </a:cubicBezTo>
                    <a:cubicBezTo>
                      <a:pt x="179070" y="289560"/>
                      <a:pt x="167640" y="278130"/>
                      <a:pt x="167640" y="264795"/>
                    </a:cubicBezTo>
                    <a:cubicBezTo>
                      <a:pt x="168593" y="250507"/>
                      <a:pt x="179070" y="240030"/>
                      <a:pt x="193358" y="240030"/>
                    </a:cubicBezTo>
                    <a:lnTo>
                      <a:pt x="193358" y="240030"/>
                    </a:lnTo>
                    <a:close/>
                    <a:moveTo>
                      <a:pt x="722948" y="397192"/>
                    </a:moveTo>
                    <a:lnTo>
                      <a:pt x="23813" y="397192"/>
                    </a:lnTo>
                    <a:lnTo>
                      <a:pt x="23813" y="192405"/>
                    </a:lnTo>
                    <a:cubicBezTo>
                      <a:pt x="23813" y="105727"/>
                      <a:pt x="88582" y="34290"/>
                      <a:pt x="174308" y="24765"/>
                    </a:cubicBezTo>
                    <a:lnTo>
                      <a:pt x="181928" y="23813"/>
                    </a:lnTo>
                    <a:lnTo>
                      <a:pt x="181928" y="218122"/>
                    </a:lnTo>
                    <a:lnTo>
                      <a:pt x="177165" y="220027"/>
                    </a:lnTo>
                    <a:cubicBezTo>
                      <a:pt x="158115" y="226695"/>
                      <a:pt x="145733" y="244792"/>
                      <a:pt x="145733" y="264795"/>
                    </a:cubicBezTo>
                    <a:cubicBezTo>
                      <a:pt x="145733" y="291465"/>
                      <a:pt x="166688" y="312420"/>
                      <a:pt x="193358" y="312420"/>
                    </a:cubicBezTo>
                    <a:cubicBezTo>
                      <a:pt x="220028" y="312420"/>
                      <a:pt x="240983" y="291465"/>
                      <a:pt x="240983" y="264795"/>
                    </a:cubicBezTo>
                    <a:cubicBezTo>
                      <a:pt x="240983" y="244792"/>
                      <a:pt x="228600" y="226695"/>
                      <a:pt x="209550" y="220027"/>
                    </a:cubicBezTo>
                    <a:lnTo>
                      <a:pt x="204788" y="218122"/>
                    </a:lnTo>
                    <a:lnTo>
                      <a:pt x="204788" y="22860"/>
                    </a:lnTo>
                    <a:lnTo>
                      <a:pt x="258128" y="22860"/>
                    </a:lnTo>
                    <a:lnTo>
                      <a:pt x="362903" y="233363"/>
                    </a:lnTo>
                    <a:cubicBezTo>
                      <a:pt x="366713" y="240982"/>
                      <a:pt x="380047" y="240982"/>
                      <a:pt x="383858" y="233363"/>
                    </a:cubicBezTo>
                    <a:lnTo>
                      <a:pt x="488633" y="22860"/>
                    </a:lnTo>
                    <a:lnTo>
                      <a:pt x="541973" y="22860"/>
                    </a:lnTo>
                    <a:lnTo>
                      <a:pt x="541973" y="144780"/>
                    </a:lnTo>
                    <a:lnTo>
                      <a:pt x="537210" y="145732"/>
                    </a:lnTo>
                    <a:cubicBezTo>
                      <a:pt x="516255" y="151447"/>
                      <a:pt x="490538" y="167640"/>
                      <a:pt x="460058" y="196215"/>
                    </a:cubicBezTo>
                    <a:cubicBezTo>
                      <a:pt x="442913" y="212407"/>
                      <a:pt x="433388" y="234315"/>
                      <a:pt x="433388" y="257175"/>
                    </a:cubicBezTo>
                    <a:lnTo>
                      <a:pt x="433388" y="335280"/>
                    </a:lnTo>
                    <a:cubicBezTo>
                      <a:pt x="433388" y="341947"/>
                      <a:pt x="438150" y="346710"/>
                      <a:pt x="444818" y="346710"/>
                    </a:cubicBezTo>
                    <a:lnTo>
                      <a:pt x="481013" y="346710"/>
                    </a:lnTo>
                    <a:cubicBezTo>
                      <a:pt x="487680" y="346710"/>
                      <a:pt x="492443" y="341947"/>
                      <a:pt x="492443" y="335280"/>
                    </a:cubicBezTo>
                    <a:cubicBezTo>
                      <a:pt x="492443" y="328613"/>
                      <a:pt x="487680" y="323850"/>
                      <a:pt x="481013" y="323850"/>
                    </a:cubicBezTo>
                    <a:lnTo>
                      <a:pt x="456247" y="323850"/>
                    </a:lnTo>
                    <a:lnTo>
                      <a:pt x="456247" y="257175"/>
                    </a:lnTo>
                    <a:cubicBezTo>
                      <a:pt x="456247" y="240030"/>
                      <a:pt x="462915" y="223838"/>
                      <a:pt x="475297" y="212407"/>
                    </a:cubicBezTo>
                    <a:cubicBezTo>
                      <a:pt x="516255" y="174307"/>
                      <a:pt x="540068" y="165735"/>
                      <a:pt x="552450" y="165735"/>
                    </a:cubicBezTo>
                    <a:cubicBezTo>
                      <a:pt x="570548" y="165735"/>
                      <a:pt x="597218" y="181927"/>
                      <a:pt x="629603" y="212407"/>
                    </a:cubicBezTo>
                    <a:cubicBezTo>
                      <a:pt x="641985" y="223838"/>
                      <a:pt x="649605" y="240030"/>
                      <a:pt x="649605" y="257175"/>
                    </a:cubicBezTo>
                    <a:lnTo>
                      <a:pt x="649605" y="322897"/>
                    </a:lnTo>
                    <a:lnTo>
                      <a:pt x="624840" y="322897"/>
                    </a:lnTo>
                    <a:cubicBezTo>
                      <a:pt x="618173" y="322897"/>
                      <a:pt x="613410" y="327660"/>
                      <a:pt x="613410" y="334328"/>
                    </a:cubicBezTo>
                    <a:cubicBezTo>
                      <a:pt x="613410" y="340995"/>
                      <a:pt x="618173" y="345757"/>
                      <a:pt x="624840" y="345757"/>
                    </a:cubicBezTo>
                    <a:lnTo>
                      <a:pt x="661035" y="345757"/>
                    </a:lnTo>
                    <a:cubicBezTo>
                      <a:pt x="667703" y="345757"/>
                      <a:pt x="672465" y="340995"/>
                      <a:pt x="672465" y="334328"/>
                    </a:cubicBezTo>
                    <a:lnTo>
                      <a:pt x="672465" y="259080"/>
                    </a:lnTo>
                    <a:cubicBezTo>
                      <a:pt x="672465" y="235267"/>
                      <a:pt x="662940" y="213360"/>
                      <a:pt x="644843" y="197167"/>
                    </a:cubicBezTo>
                    <a:cubicBezTo>
                      <a:pt x="614363" y="169545"/>
                      <a:pt x="589598" y="153352"/>
                      <a:pt x="568643" y="147638"/>
                    </a:cubicBezTo>
                    <a:lnTo>
                      <a:pt x="563880" y="146685"/>
                    </a:lnTo>
                    <a:lnTo>
                      <a:pt x="563880" y="22860"/>
                    </a:lnTo>
                    <a:lnTo>
                      <a:pt x="571500" y="23813"/>
                    </a:lnTo>
                    <a:cubicBezTo>
                      <a:pt x="657225" y="33338"/>
                      <a:pt x="721995" y="105727"/>
                      <a:pt x="721995" y="191452"/>
                    </a:cubicBezTo>
                    <a:lnTo>
                      <a:pt x="721995" y="39719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19" name="Freeform 18">
                <a:extLst>
                  <a:ext uri="{FF2B5EF4-FFF2-40B4-BE49-F238E27FC236}">
                    <a16:creationId xmlns:a16="http://schemas.microsoft.com/office/drawing/2014/main" id="{9CE815FF-7089-8D66-422B-80324794E968}"/>
                  </a:ext>
                </a:extLst>
              </p:cNvPr>
              <p:cNvSpPr/>
              <p:nvPr/>
            </p:nvSpPr>
            <p:spPr>
              <a:xfrm>
                <a:off x="9282353" y="1376735"/>
                <a:ext cx="256539" cy="256539"/>
              </a:xfrm>
              <a:custGeom>
                <a:avLst/>
                <a:gdLst>
                  <a:gd name="connsiteX0" fmla="*/ 192405 w 384809"/>
                  <a:gd name="connsiteY0" fmla="*/ 384810 h 384809"/>
                  <a:gd name="connsiteX1" fmla="*/ 384810 w 384809"/>
                  <a:gd name="connsiteY1" fmla="*/ 192405 h 384809"/>
                  <a:gd name="connsiteX2" fmla="*/ 192405 w 384809"/>
                  <a:gd name="connsiteY2" fmla="*/ 0 h 384809"/>
                  <a:gd name="connsiteX3" fmla="*/ 0 w 384809"/>
                  <a:gd name="connsiteY3" fmla="*/ 192405 h 384809"/>
                  <a:gd name="connsiteX4" fmla="*/ 192405 w 384809"/>
                  <a:gd name="connsiteY4" fmla="*/ 384810 h 384809"/>
                  <a:gd name="connsiteX5" fmla="*/ 192405 w 384809"/>
                  <a:gd name="connsiteY5" fmla="*/ 23813 h 384809"/>
                  <a:gd name="connsiteX6" fmla="*/ 360997 w 384809"/>
                  <a:gd name="connsiteY6" fmla="*/ 192405 h 384809"/>
                  <a:gd name="connsiteX7" fmla="*/ 192405 w 384809"/>
                  <a:gd name="connsiteY7" fmla="*/ 360997 h 384809"/>
                  <a:gd name="connsiteX8" fmla="*/ 23813 w 384809"/>
                  <a:gd name="connsiteY8" fmla="*/ 192405 h 384809"/>
                  <a:gd name="connsiteX9" fmla="*/ 192405 w 384809"/>
                  <a:gd name="connsiteY9" fmla="*/ 23813 h 384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809" h="384809">
                    <a:moveTo>
                      <a:pt x="192405" y="384810"/>
                    </a:moveTo>
                    <a:cubicBezTo>
                      <a:pt x="298132" y="384810"/>
                      <a:pt x="384810" y="298133"/>
                      <a:pt x="384810" y="192405"/>
                    </a:cubicBezTo>
                    <a:cubicBezTo>
                      <a:pt x="384810" y="86677"/>
                      <a:pt x="298132" y="0"/>
                      <a:pt x="192405" y="0"/>
                    </a:cubicBezTo>
                    <a:cubicBezTo>
                      <a:pt x="86677" y="0"/>
                      <a:pt x="0" y="86677"/>
                      <a:pt x="0" y="192405"/>
                    </a:cubicBezTo>
                    <a:cubicBezTo>
                      <a:pt x="0" y="299085"/>
                      <a:pt x="86677" y="384810"/>
                      <a:pt x="192405" y="384810"/>
                    </a:cubicBezTo>
                    <a:close/>
                    <a:moveTo>
                      <a:pt x="192405" y="23813"/>
                    </a:moveTo>
                    <a:cubicBezTo>
                      <a:pt x="285750" y="23813"/>
                      <a:pt x="360997" y="100013"/>
                      <a:pt x="360997" y="192405"/>
                    </a:cubicBezTo>
                    <a:cubicBezTo>
                      <a:pt x="360997" y="285750"/>
                      <a:pt x="284797" y="360997"/>
                      <a:pt x="192405" y="360997"/>
                    </a:cubicBezTo>
                    <a:cubicBezTo>
                      <a:pt x="99060" y="360997"/>
                      <a:pt x="23813" y="284797"/>
                      <a:pt x="23813" y="192405"/>
                    </a:cubicBezTo>
                    <a:cubicBezTo>
                      <a:pt x="23813" y="100013"/>
                      <a:pt x="99060" y="23813"/>
                      <a:pt x="192405" y="238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grpSp>
      </p:grpSp>
      <p:sp>
        <p:nvSpPr>
          <p:cNvPr id="8" name="TextBox 7">
            <a:extLst>
              <a:ext uri="{FF2B5EF4-FFF2-40B4-BE49-F238E27FC236}">
                <a16:creationId xmlns:a16="http://schemas.microsoft.com/office/drawing/2014/main" id="{BAFDB6DE-CCF1-30C5-BAF6-8AA049FDA37A}"/>
              </a:ext>
            </a:extLst>
          </p:cNvPr>
          <p:cNvSpPr txBox="1"/>
          <p:nvPr/>
        </p:nvSpPr>
        <p:spPr bwMode="gray">
          <a:xfrm>
            <a:off x="9247120" y="3657729"/>
            <a:ext cx="2123913" cy="923330"/>
          </a:xfrm>
          <a:prstGeom prst="rect">
            <a:avLst/>
          </a:prstGeom>
          <a:noFill/>
          <a:effectLst>
            <a:outerShdw blurRad="50800" dist="38100" dir="8100000" algn="tr" rotWithShape="0">
              <a:prstClr val="black">
                <a:alpha val="40000"/>
              </a:prstClr>
            </a:outerShdw>
          </a:effectLst>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6000" b="1" i="0" u="none" strike="noStrike" kern="1200" cap="none" spc="0" normalizeH="0" baseline="0" noProof="0" dirty="0">
                <a:ln>
                  <a:noFill/>
                </a:ln>
                <a:solidFill>
                  <a:schemeClr val="bg1"/>
                </a:solidFill>
                <a:effectLst/>
                <a:uLnTx/>
                <a:uFillTx/>
                <a:latin typeface="Arial"/>
                <a:ea typeface="+mn-ea"/>
                <a:cs typeface="+mn-cs"/>
              </a:rPr>
              <a:t>49%</a:t>
            </a:r>
          </a:p>
        </p:txBody>
      </p:sp>
      <p:sp>
        <p:nvSpPr>
          <p:cNvPr id="21" name="TextBox 20">
            <a:extLst>
              <a:ext uri="{FF2B5EF4-FFF2-40B4-BE49-F238E27FC236}">
                <a16:creationId xmlns:a16="http://schemas.microsoft.com/office/drawing/2014/main" id="{4ADCC09F-2B38-E0D2-4931-CFA370B4B9D2}"/>
              </a:ext>
            </a:extLst>
          </p:cNvPr>
          <p:cNvSpPr txBox="1"/>
          <p:nvPr/>
        </p:nvSpPr>
        <p:spPr>
          <a:xfrm>
            <a:off x="9008436" y="4637024"/>
            <a:ext cx="2601280" cy="738664"/>
          </a:xfrm>
          <a:prstGeom prst="rect">
            <a:avLst/>
          </a:prstGeom>
          <a:noFill/>
          <a:effectLst>
            <a:outerShdw blurRad="50800" dist="38100" dir="8100000" algn="tr" rotWithShape="0">
              <a:prstClr val="black">
                <a:alpha val="40000"/>
              </a:prstClr>
            </a:outerShdw>
          </a:effectLst>
        </p:spPr>
        <p:txBody>
          <a:bodyPr wrap="square" lIns="0" tIns="0" rIns="0" bIns="0">
            <a:noAutofit/>
          </a:bodyPr>
          <a:lstStyle>
            <a:defPPr>
              <a:defRPr lang="en-US"/>
            </a:defPPr>
            <a:lvl1pPr marR="0" lvl="0" indent="0" algn="ctr" fontAlgn="auto">
              <a:lnSpc>
                <a:spcPct val="100000"/>
              </a:lnSpc>
              <a:spcBef>
                <a:spcPts val="0"/>
              </a:spcBef>
              <a:spcAft>
                <a:spcPts val="1200"/>
              </a:spcAft>
              <a:buClrTx/>
              <a:buSzTx/>
              <a:buFontTx/>
              <a:buNone/>
              <a:tabLst/>
              <a:defRPr kumimoji="0" sz="1400" u="none" strike="noStrike" cap="none" spc="0" normalizeH="0" baseline="0">
                <a:ln>
                  <a:noFill/>
                </a:ln>
                <a:solidFill>
                  <a:schemeClr val="accent1"/>
                </a:solidFill>
                <a:effectLst/>
                <a:uLnTx/>
                <a:uFillTx/>
                <a:latin typeface="Arial"/>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a:ea typeface="+mn-ea"/>
                <a:cs typeface="+mn-cs"/>
              </a:rPr>
              <a:t>of physician’s </a:t>
            </a:r>
            <a:br>
              <a:rPr kumimoji="0" lang="en-US" sz="1800" b="0" i="0" u="none" strike="noStrike" kern="1200" cap="none" spc="0" normalizeH="0" baseline="0" noProof="0" dirty="0">
                <a:ln>
                  <a:noFill/>
                </a:ln>
                <a:solidFill>
                  <a:schemeClr val="bg1"/>
                </a:solidFill>
                <a:effectLst/>
                <a:uLnTx/>
                <a:uFillTx/>
                <a:latin typeface="Arial"/>
                <a:ea typeface="+mn-ea"/>
                <a:cs typeface="+mn-cs"/>
              </a:rPr>
            </a:br>
            <a:r>
              <a:rPr kumimoji="0" lang="en-US" sz="1800" b="0" i="0" u="none" strike="noStrike" kern="1200" cap="none" spc="0" normalizeH="0" baseline="0" noProof="0" dirty="0">
                <a:ln>
                  <a:noFill/>
                </a:ln>
                <a:solidFill>
                  <a:schemeClr val="bg1"/>
                </a:solidFill>
                <a:effectLst/>
                <a:uLnTx/>
                <a:uFillTx/>
                <a:latin typeface="Arial"/>
                <a:ea typeface="+mn-ea"/>
                <a:cs typeface="+mn-cs"/>
              </a:rPr>
              <a:t>report burnout… </a:t>
            </a:r>
            <a:br>
              <a:rPr kumimoji="0" lang="en-US" sz="1800" b="0" i="0" u="none" strike="noStrike" kern="1200" cap="none" spc="0" normalizeH="0" baseline="0" noProof="0" dirty="0">
                <a:ln>
                  <a:noFill/>
                </a:ln>
                <a:solidFill>
                  <a:schemeClr val="bg1"/>
                </a:solidFill>
                <a:effectLst/>
                <a:uLnTx/>
                <a:uFillTx/>
                <a:latin typeface="Arial"/>
                <a:ea typeface="+mn-ea"/>
                <a:cs typeface="+mn-cs"/>
              </a:rPr>
            </a:br>
            <a:r>
              <a:rPr kumimoji="0" lang="en-US" sz="1800" b="0" i="0" u="none" strike="noStrike" kern="1200" cap="none" spc="0" normalizeH="0" baseline="0" noProof="0" dirty="0">
                <a:ln>
                  <a:noFill/>
                </a:ln>
                <a:solidFill>
                  <a:schemeClr val="bg1"/>
                </a:solidFill>
                <a:effectLst/>
                <a:uLnTx/>
                <a:uFillTx/>
                <a:latin typeface="Arial"/>
                <a:ea typeface="+mn-ea"/>
                <a:cs typeface="+mn-cs"/>
              </a:rPr>
              <a:t>with bureaucratic tasks being the top factor</a:t>
            </a:r>
            <a:r>
              <a:rPr kumimoji="0" lang="en-US" i="0" u="none" strike="noStrike" kern="1200" cap="none" spc="0" normalizeH="0" baseline="40000" noProof="0" dirty="0">
                <a:ln>
                  <a:noFill/>
                </a:ln>
                <a:solidFill>
                  <a:prstClr val="white"/>
                </a:solidFill>
                <a:uLnTx/>
                <a:uFillTx/>
                <a:latin typeface="Arial"/>
                <a:ea typeface="+mn-ea"/>
                <a:cs typeface="+mn-cs"/>
              </a:rPr>
              <a:t>3</a:t>
            </a:r>
            <a:endParaRPr kumimoji="0" lang="en-US" sz="1800" b="0" i="0" u="none" strike="noStrike" kern="1200" cap="none" spc="0" normalizeH="0" baseline="40000" noProof="0" dirty="0">
              <a:ln>
                <a:noFill/>
              </a:ln>
              <a:solidFill>
                <a:schemeClr val="bg1"/>
              </a:solidFill>
              <a:effectLst/>
              <a:uLnTx/>
              <a:uFillTx/>
              <a:latin typeface="Arial"/>
              <a:ea typeface="+mn-ea"/>
              <a:cs typeface="+mn-cs"/>
            </a:endParaRPr>
          </a:p>
        </p:txBody>
      </p:sp>
      <p:sp>
        <p:nvSpPr>
          <p:cNvPr id="2" name="TextBox 1">
            <a:extLst>
              <a:ext uri="{FF2B5EF4-FFF2-40B4-BE49-F238E27FC236}">
                <a16:creationId xmlns:a16="http://schemas.microsoft.com/office/drawing/2014/main" id="{D438EF70-E51F-A258-225C-242A6B2F3886}"/>
              </a:ext>
            </a:extLst>
          </p:cNvPr>
          <p:cNvSpPr txBox="1"/>
          <p:nvPr/>
        </p:nvSpPr>
        <p:spPr>
          <a:xfrm>
            <a:off x="6617344" y="4654780"/>
            <a:ext cx="248575" cy="246221"/>
          </a:xfrm>
          <a:prstGeom prst="rect">
            <a:avLst/>
          </a:prstGeom>
          <a:noFill/>
        </p:spPr>
        <p:txBody>
          <a:bodyPr wrap="square" rtlCol="0">
            <a:spAutoFit/>
          </a:bodyPr>
          <a:lstStyle/>
          <a:p>
            <a:r>
              <a:rPr lang="en-US" sz="1000" dirty="0">
                <a:solidFill>
                  <a:schemeClr val="bg1"/>
                </a:solidFill>
              </a:rPr>
              <a:t>2</a:t>
            </a:r>
          </a:p>
        </p:txBody>
      </p:sp>
      <p:sp>
        <p:nvSpPr>
          <p:cNvPr id="5" name="TextBox 4">
            <a:extLst>
              <a:ext uri="{FF2B5EF4-FFF2-40B4-BE49-F238E27FC236}">
                <a16:creationId xmlns:a16="http://schemas.microsoft.com/office/drawing/2014/main" id="{E96C7DC5-608A-EBF5-AAC9-601EA00D33F6}"/>
              </a:ext>
            </a:extLst>
          </p:cNvPr>
          <p:cNvSpPr txBox="1"/>
          <p:nvPr/>
        </p:nvSpPr>
        <p:spPr>
          <a:xfrm>
            <a:off x="5403433" y="6592809"/>
            <a:ext cx="5003278" cy="215444"/>
          </a:xfrm>
          <a:prstGeom prst="rect">
            <a:avLst/>
          </a:prstGeom>
          <a:noFill/>
        </p:spPr>
        <p:txBody>
          <a:bodyPr wrap="square">
            <a:spAutoFit/>
          </a:bodyPr>
          <a:lstStyle/>
          <a:p>
            <a:r>
              <a:rPr lang="en-US" sz="800" dirty="0">
                <a:solidFill>
                  <a:schemeClr val="bg1">
                    <a:lumMod val="85000"/>
                  </a:schemeClr>
                </a:solidFill>
              </a:rPr>
              <a:t>3 thedo.osteopathic.org/2024/02/nearly-half-of-physicians-surveyed-say-theyre-burned-out-in-2024/</a:t>
            </a:r>
          </a:p>
        </p:txBody>
      </p:sp>
      <p:sp>
        <p:nvSpPr>
          <p:cNvPr id="6" name="TextBox 5">
            <a:extLst>
              <a:ext uri="{FF2B5EF4-FFF2-40B4-BE49-F238E27FC236}">
                <a16:creationId xmlns:a16="http://schemas.microsoft.com/office/drawing/2014/main" id="{2FA26C31-9B70-4F96-B899-5D3AD45D5115}"/>
              </a:ext>
            </a:extLst>
          </p:cNvPr>
          <p:cNvSpPr txBox="1"/>
          <p:nvPr/>
        </p:nvSpPr>
        <p:spPr>
          <a:xfrm>
            <a:off x="5403433" y="6421055"/>
            <a:ext cx="5702508" cy="215444"/>
          </a:xfrm>
          <a:prstGeom prst="rect">
            <a:avLst/>
          </a:prstGeom>
          <a:noFill/>
        </p:spPr>
        <p:txBody>
          <a:bodyPr wrap="square">
            <a:spAutoFit/>
          </a:bodyPr>
          <a:lstStyle/>
          <a:p>
            <a:r>
              <a:rPr lang="en-US" sz="800" dirty="0">
                <a:solidFill>
                  <a:schemeClr val="bg1">
                    <a:lumMod val="85000"/>
                  </a:schemeClr>
                </a:solidFill>
              </a:rPr>
              <a:t>2 www.ama-assn.org/practice-management/physician-health/how-much-physician-burnout-costing-your-organization</a:t>
            </a:r>
          </a:p>
        </p:txBody>
      </p:sp>
      <p:sp>
        <p:nvSpPr>
          <p:cNvPr id="9" name="TextBox 8">
            <a:extLst>
              <a:ext uri="{FF2B5EF4-FFF2-40B4-BE49-F238E27FC236}">
                <a16:creationId xmlns:a16="http://schemas.microsoft.com/office/drawing/2014/main" id="{74F91B54-F181-5DAC-03C7-984AB415E7D9}"/>
              </a:ext>
            </a:extLst>
          </p:cNvPr>
          <p:cNvSpPr txBox="1"/>
          <p:nvPr/>
        </p:nvSpPr>
        <p:spPr>
          <a:xfrm>
            <a:off x="5402803" y="6249301"/>
            <a:ext cx="4446501" cy="215444"/>
          </a:xfrm>
          <a:prstGeom prst="rect">
            <a:avLst/>
          </a:prstGeom>
          <a:noFill/>
        </p:spPr>
        <p:txBody>
          <a:bodyPr wrap="square">
            <a:spAutoFit/>
          </a:bodyPr>
          <a:lstStyle/>
          <a:p>
            <a:r>
              <a:rPr lang="en-US" sz="800" dirty="0">
                <a:solidFill>
                  <a:schemeClr val="bg1">
                    <a:lumMod val="85000"/>
                  </a:schemeClr>
                </a:solidFill>
              </a:rPr>
              <a:t>1 www.aamc.org/news/press-releases/aamc-report-reinforces-mounting-physician-shortage</a:t>
            </a:r>
          </a:p>
        </p:txBody>
      </p:sp>
    </p:spTree>
    <p:extLst>
      <p:ext uri="{BB962C8B-B14F-4D97-AF65-F5344CB8AC3E}">
        <p14:creationId xmlns:p14="http://schemas.microsoft.com/office/powerpoint/2010/main" val="3970827602"/>
      </p:ext>
    </p:extLst>
  </p:cSld>
  <p:clrMapOvr>
    <a:masterClrMapping/>
  </p:clrMapOvr>
  <p:transition spd="slow" advTm="10000">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590F9E-2B53-A8EC-5F63-E91D078A8CDC}"/>
              </a:ext>
            </a:extLst>
          </p:cNvPr>
          <p:cNvSpPr/>
          <p:nvPr/>
        </p:nvSpPr>
        <p:spPr>
          <a:xfrm rot="5400000" flipH="1">
            <a:off x="6792583" y="1458587"/>
            <a:ext cx="4702827" cy="6095998"/>
          </a:xfrm>
          <a:prstGeom prst="rect">
            <a:avLst/>
          </a:prstGeom>
          <a:gradFill>
            <a:gsLst>
              <a:gs pos="0">
                <a:schemeClr val="bg1">
                  <a:alpha val="0"/>
                </a:schemeClr>
              </a:gs>
              <a:gs pos="54000">
                <a:srgbClr val="006BA0">
                  <a:alpha val="88000"/>
                </a:srgbClr>
              </a:gs>
              <a:gs pos="89000">
                <a:schemeClr val="accent1">
                  <a:lumMod val="75000"/>
                </a:schemeClr>
              </a:gs>
              <a:gs pos="0">
                <a:schemeClr val="bg1">
                  <a:alpha val="0"/>
                </a:schemeClr>
              </a:gs>
              <a:gs pos="28000">
                <a:schemeClr val="accent1">
                  <a:lumMod val="60000"/>
                  <a:lumOff val="40000"/>
                  <a:alpha val="6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8BDB1B79-7321-22FE-71A8-5C31899407D0}"/>
              </a:ext>
            </a:extLst>
          </p:cNvPr>
          <p:cNvSpPr/>
          <p:nvPr/>
        </p:nvSpPr>
        <p:spPr>
          <a:xfrm rot="5400000" flipH="1">
            <a:off x="696588" y="1458586"/>
            <a:ext cx="4702822" cy="6095998"/>
          </a:xfrm>
          <a:prstGeom prst="rect">
            <a:avLst/>
          </a:prstGeom>
          <a:gradFill>
            <a:gsLst>
              <a:gs pos="0">
                <a:schemeClr val="bg1">
                  <a:alpha val="0"/>
                </a:schemeClr>
              </a:gs>
              <a:gs pos="37000">
                <a:schemeClr val="accent1">
                  <a:lumMod val="60000"/>
                  <a:lumOff val="40000"/>
                  <a:alpha val="66000"/>
                </a:schemeClr>
              </a:gs>
              <a:gs pos="89000">
                <a:schemeClr val="accent4"/>
              </a:gs>
              <a:gs pos="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itle 2">
            <a:extLst>
              <a:ext uri="{FF2B5EF4-FFF2-40B4-BE49-F238E27FC236}">
                <a16:creationId xmlns:a16="http://schemas.microsoft.com/office/drawing/2014/main" id="{1C25432A-481E-E7FD-D29A-82351A1BD863}"/>
              </a:ext>
            </a:extLst>
          </p:cNvPr>
          <p:cNvSpPr>
            <a:spLocks noGrp="1"/>
          </p:cNvSpPr>
          <p:nvPr>
            <p:ph type="title"/>
          </p:nvPr>
        </p:nvSpPr>
        <p:spPr>
          <a:xfrm>
            <a:off x="574884" y="456691"/>
            <a:ext cx="11223540" cy="1487519"/>
          </a:xfrm>
        </p:spPr>
        <p:txBody>
          <a:bodyPr/>
          <a:lstStyle/>
          <a:p>
            <a:r>
              <a:rPr lang="en-US" dirty="0"/>
              <a:t>Credentialing is redundant and takes ~90-120 days </a:t>
            </a:r>
            <a:br>
              <a:rPr lang="en-US" dirty="0"/>
            </a:br>
            <a:r>
              <a:rPr lang="en-US" dirty="0"/>
              <a:t>leading to additional patient and provider access concerns </a:t>
            </a:r>
          </a:p>
        </p:txBody>
      </p:sp>
      <p:sp>
        <p:nvSpPr>
          <p:cNvPr id="4" name="TextBox 3">
            <a:extLst>
              <a:ext uri="{FF2B5EF4-FFF2-40B4-BE49-F238E27FC236}">
                <a16:creationId xmlns:a16="http://schemas.microsoft.com/office/drawing/2014/main" id="{0B53FCA6-BB53-85B9-371F-D4B6CEDA2430}"/>
              </a:ext>
            </a:extLst>
          </p:cNvPr>
          <p:cNvSpPr txBox="1"/>
          <p:nvPr/>
        </p:nvSpPr>
        <p:spPr>
          <a:xfrm>
            <a:off x="977217" y="2694955"/>
            <a:ext cx="4097824" cy="253402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3.3</a:t>
            </a:r>
            <a:endParaRPr kumimoji="0" lang="en-US" sz="88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endParaRPr>
          </a:p>
          <a:p>
            <a:pPr marL="0" marR="0" lvl="0" indent="0" algn="ctr" defTabSz="914400" rtl="0" eaLnBrk="1" fontAlgn="auto" latinLnBrk="0" hangingPunct="1">
              <a:lnSpc>
                <a:spcPts val="2600"/>
              </a:lnSpc>
              <a:spcBef>
                <a:spcPts val="0"/>
              </a:spcBef>
              <a:spcAft>
                <a:spcPts val="0"/>
              </a:spcAft>
              <a:buClrTx/>
              <a:buSzTx/>
              <a:buFontTx/>
              <a:buNone/>
              <a:tabLst/>
              <a:defRPr/>
            </a:pPr>
            <a:r>
              <a:rPr lang="en-US" sz="2400" dirty="0">
                <a:solidFill>
                  <a:prstClr val="white"/>
                </a:solidFill>
                <a:effectLst>
                  <a:outerShdw blurRad="127000" dist="254000" dir="7680000" sx="105000" sy="105000" kx="1300200" algn="ctr" rotWithShape="0">
                    <a:prstClr val="black">
                      <a:alpha val="32000"/>
                    </a:prstClr>
                  </a:outerShdw>
                </a:effectLst>
                <a:latin typeface="Arial"/>
              </a:rPr>
              <a:t>Software solutions </a:t>
            </a:r>
            <a:br>
              <a:rPr lang="en-US" sz="2400" dirty="0">
                <a:solidFill>
                  <a:prstClr val="white"/>
                </a:solidFill>
                <a:effectLst>
                  <a:outerShdw blurRad="127000" dist="254000" dir="7680000" sx="105000" sy="105000" kx="1300200" algn="ctr" rotWithShape="0">
                    <a:prstClr val="black">
                      <a:alpha val="32000"/>
                    </a:prstClr>
                  </a:outerShdw>
                </a:effectLst>
                <a:latin typeface="Arial"/>
              </a:rPr>
            </a:br>
            <a:r>
              <a:rPr lang="en-US" sz="2400" dirty="0">
                <a:solidFill>
                  <a:prstClr val="white"/>
                </a:solidFill>
                <a:effectLst>
                  <a:outerShdw blurRad="127000" dist="254000" dir="7680000" sx="105000" sy="105000" kx="1300200" algn="ctr" rotWithShape="0">
                    <a:prstClr val="black">
                      <a:alpha val="32000"/>
                    </a:prstClr>
                  </a:outerShdw>
                </a:effectLst>
                <a:latin typeface="Arial"/>
              </a:rPr>
              <a:t>and spreadsheets </a:t>
            </a:r>
            <a:br>
              <a:rPr lang="en-US" sz="2400" dirty="0">
                <a:solidFill>
                  <a:prstClr val="white"/>
                </a:solidFill>
                <a:effectLst>
                  <a:outerShdw blurRad="127000" dist="254000" dir="7680000" sx="105000" sy="105000" kx="1300200" algn="ctr" rotWithShape="0">
                    <a:prstClr val="black">
                      <a:alpha val="32000"/>
                    </a:prstClr>
                  </a:outerShdw>
                </a:effectLst>
                <a:latin typeface="Arial"/>
              </a:rPr>
            </a:br>
            <a:r>
              <a:rPr lang="en-US" sz="2400" dirty="0">
                <a:solidFill>
                  <a:prstClr val="white"/>
                </a:solidFill>
                <a:effectLst>
                  <a:outerShdw blurRad="127000" dist="254000" dir="7680000" sx="105000" sy="105000" kx="1300200" algn="ctr" rotWithShape="0">
                    <a:prstClr val="black">
                      <a:alpha val="32000"/>
                    </a:prstClr>
                  </a:outerShdw>
                </a:effectLst>
                <a:latin typeface="Arial"/>
              </a:rPr>
              <a:t>are used to manage the provider data lifecycle</a:t>
            </a:r>
            <a:r>
              <a:rPr lang="en-US" baseline="40000" dirty="0">
                <a:solidFill>
                  <a:prstClr val="white"/>
                </a:solidFill>
                <a:effectLst>
                  <a:outerShdw blurRad="127000" dist="254000" dir="7680000" sx="105000" sy="105000" kx="1300200" algn="ctr" rotWithShape="0">
                    <a:prstClr val="black">
                      <a:alpha val="32000"/>
                    </a:prstClr>
                  </a:outerShdw>
                </a:effectLst>
                <a:latin typeface="Arial"/>
              </a:rPr>
              <a:t>1</a:t>
            </a:r>
            <a:endParaRPr kumimoji="0" lang="en-US" i="0" u="none" strike="noStrike" kern="1200" cap="none" spc="0" normalizeH="0" baseline="40000" noProof="0" dirty="0">
              <a:ln>
                <a:noFill/>
              </a:ln>
              <a:solidFill>
                <a:prstClr val="white"/>
              </a:solidFill>
              <a:uLnTx/>
              <a:uFillTx/>
              <a:latin typeface="Arial"/>
              <a:ea typeface="+mn-ea"/>
              <a:cs typeface="+mn-cs"/>
            </a:endParaRPr>
          </a:p>
        </p:txBody>
      </p:sp>
      <p:grpSp>
        <p:nvGrpSpPr>
          <p:cNvPr id="32" name="Group 31">
            <a:extLst>
              <a:ext uri="{FF2B5EF4-FFF2-40B4-BE49-F238E27FC236}">
                <a16:creationId xmlns:a16="http://schemas.microsoft.com/office/drawing/2014/main" id="{8E475D51-F3CC-A1A1-EEDA-4F23D0CD99E7}"/>
              </a:ext>
            </a:extLst>
          </p:cNvPr>
          <p:cNvGrpSpPr/>
          <p:nvPr/>
        </p:nvGrpSpPr>
        <p:grpSpPr>
          <a:xfrm>
            <a:off x="6923760" y="2924264"/>
            <a:ext cx="4547381" cy="2492990"/>
            <a:chOff x="6923760" y="2924264"/>
            <a:chExt cx="4547381" cy="2492990"/>
          </a:xfrm>
        </p:grpSpPr>
        <p:sp>
          <p:nvSpPr>
            <p:cNvPr id="5" name="TextBox 4">
              <a:extLst>
                <a:ext uri="{FF2B5EF4-FFF2-40B4-BE49-F238E27FC236}">
                  <a16:creationId xmlns:a16="http://schemas.microsoft.com/office/drawing/2014/main" id="{4F21BACD-5B5B-C370-7F01-54867AC1FA69}"/>
                </a:ext>
              </a:extLst>
            </p:cNvPr>
            <p:cNvSpPr txBox="1"/>
            <p:nvPr/>
          </p:nvSpPr>
          <p:spPr>
            <a:xfrm>
              <a:off x="6923760" y="2924264"/>
              <a:ext cx="4547381" cy="249299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The </a:t>
              </a:r>
              <a:r>
                <a:rPr lang="en-US" sz="2800" dirty="0">
                  <a:solidFill>
                    <a:prstClr val="white"/>
                  </a:solidFill>
                  <a:effectLst>
                    <a:outerShdw blurRad="127000" dist="254000" dir="7680000" sx="105000" sy="105000" kx="1300200" algn="ctr" rotWithShape="0">
                      <a:prstClr val="black">
                        <a:alpha val="32000"/>
                      </a:prstClr>
                    </a:outerShdw>
                  </a:effectLst>
                  <a:latin typeface="Arial"/>
                </a:rPr>
                <a:t>same data </a:t>
              </a:r>
              <a:br>
                <a:rPr lang="en-US" sz="2800" dirty="0">
                  <a:solidFill>
                    <a:prstClr val="white"/>
                  </a:solidFill>
                  <a:effectLst>
                    <a:outerShdw blurRad="127000" dist="254000" dir="7680000" sx="105000" sy="105000" kx="1300200" algn="ctr" rotWithShape="0">
                      <a:prstClr val="black">
                        <a:alpha val="32000"/>
                      </a:prstClr>
                    </a:outerShdw>
                  </a:effectLst>
                  <a:latin typeface="Arial"/>
                </a:rPr>
              </a:br>
              <a:r>
                <a:rPr lang="en-US" sz="2800" dirty="0">
                  <a:solidFill>
                    <a:prstClr val="white"/>
                  </a:solidFill>
                  <a:effectLst>
                    <a:outerShdw blurRad="127000" dist="254000" dir="7680000" sx="105000" sy="105000" kx="1300200" algn="ctr" rotWithShape="0">
                      <a:prstClr val="black">
                        <a:alpha val="32000"/>
                      </a:prstClr>
                    </a:outerShdw>
                  </a:effectLst>
                  <a:latin typeface="Arial"/>
                </a:rPr>
                <a:t>is entered into </a:t>
              </a:r>
              <a:br>
                <a:rPr lang="en-US" sz="2800" dirty="0">
                  <a:solidFill>
                    <a:prstClr val="white"/>
                  </a:solidFill>
                  <a:effectLst>
                    <a:outerShdw blurRad="127000" dist="254000" dir="7680000" sx="105000" sy="105000" kx="1300200" algn="ctr" rotWithShape="0">
                      <a:prstClr val="black">
                        <a:alpha val="32000"/>
                      </a:prstClr>
                    </a:outerShdw>
                  </a:effectLst>
                  <a:latin typeface="Arial"/>
                </a:rPr>
              </a:br>
              <a:r>
                <a:rPr lang="en-US" sz="2800" dirty="0">
                  <a:solidFill>
                    <a:prstClr val="white"/>
                  </a:solidFill>
                  <a:effectLst>
                    <a:outerShdw blurRad="127000" dist="254000" dir="7680000" sx="105000" sy="105000" kx="1300200" algn="ctr" rotWithShape="0">
                      <a:prstClr val="black">
                        <a:alpha val="32000"/>
                      </a:prstClr>
                    </a:outerShdw>
                  </a:effectLst>
                  <a:latin typeface="Arial"/>
                </a:rPr>
                <a:t>different system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rPr>
                <a:t>2.6x</a:t>
              </a:r>
              <a:endParaRPr kumimoji="0" lang="en-US" sz="2000" b="1" i="0" u="none" strike="noStrike" kern="1200" cap="none" spc="0" normalizeH="0" baseline="0" noProof="0" dirty="0">
                <a:ln>
                  <a:noFill/>
                </a:ln>
                <a:solidFill>
                  <a:prstClr val="white"/>
                </a:solidFill>
                <a:effectLst>
                  <a:outerShdw blurRad="127000" dist="254000" dir="7680000" sx="105000" sy="105000" kx="1300200" algn="ctr" rotWithShape="0">
                    <a:prstClr val="black">
                      <a:alpha val="32000"/>
                    </a:prstClr>
                  </a:outerShdw>
                </a:effectLst>
                <a:uLnTx/>
                <a:uFillTx/>
                <a:latin typeface="Arial"/>
                <a:ea typeface="+mn-ea"/>
                <a:cs typeface="+mn-cs"/>
              </a:endParaRPr>
            </a:p>
          </p:txBody>
        </p:sp>
        <p:sp>
          <p:nvSpPr>
            <p:cNvPr id="8" name="TextBox 7">
              <a:extLst>
                <a:ext uri="{FF2B5EF4-FFF2-40B4-BE49-F238E27FC236}">
                  <a16:creationId xmlns:a16="http://schemas.microsoft.com/office/drawing/2014/main" id="{D85E539B-3728-8E46-CF98-D5F692C87246}"/>
                </a:ext>
              </a:extLst>
            </p:cNvPr>
            <p:cNvSpPr txBox="1"/>
            <p:nvPr/>
          </p:nvSpPr>
          <p:spPr>
            <a:xfrm>
              <a:off x="10008705" y="4517331"/>
              <a:ext cx="269626" cy="276999"/>
            </a:xfrm>
            <a:prstGeom prst="rect">
              <a:avLst/>
            </a:prstGeom>
            <a:noFill/>
          </p:spPr>
          <p:txBody>
            <a:bodyPr wrap="none" rtlCol="0">
              <a:spAutoFit/>
            </a:bodyPr>
            <a:lstStyle/>
            <a:p>
              <a:r>
                <a:rPr lang="en-US" sz="1200" dirty="0">
                  <a:solidFill>
                    <a:schemeClr val="bg1"/>
                  </a:solidFill>
                </a:rPr>
                <a:t>1</a:t>
              </a:r>
            </a:p>
          </p:txBody>
        </p:sp>
      </p:grpSp>
      <p:sp>
        <p:nvSpPr>
          <p:cNvPr id="10" name="TextBox 9">
            <a:extLst>
              <a:ext uri="{FF2B5EF4-FFF2-40B4-BE49-F238E27FC236}">
                <a16:creationId xmlns:a16="http://schemas.microsoft.com/office/drawing/2014/main" id="{4A4659A9-B635-A19D-40A0-8346D68B1B1A}"/>
              </a:ext>
            </a:extLst>
          </p:cNvPr>
          <p:cNvSpPr txBox="1"/>
          <p:nvPr/>
        </p:nvSpPr>
        <p:spPr>
          <a:xfrm>
            <a:off x="6094340" y="6534831"/>
            <a:ext cx="4918217" cy="213839"/>
          </a:xfrm>
          <a:prstGeom prst="rect">
            <a:avLst/>
          </a:prstGeom>
          <a:noFill/>
        </p:spPr>
        <p:txBody>
          <a:bodyPr wrap="square">
            <a:spAutoFit/>
          </a:bodyPr>
          <a:lstStyle/>
          <a:p>
            <a:r>
              <a:rPr lang="en-US" sz="800" dirty="0">
                <a:solidFill>
                  <a:schemeClr val="bg1"/>
                </a:solidFill>
              </a:rPr>
              <a:t>1 www.healthdatamanagement.com/articles/better-credentialing-can-address-challenges-improve-care</a:t>
            </a:r>
          </a:p>
        </p:txBody>
      </p:sp>
      <p:grpSp>
        <p:nvGrpSpPr>
          <p:cNvPr id="11" name="Group 10">
            <a:extLst>
              <a:ext uri="{FF2B5EF4-FFF2-40B4-BE49-F238E27FC236}">
                <a16:creationId xmlns:a16="http://schemas.microsoft.com/office/drawing/2014/main" id="{9DA28375-95EC-5D43-F8BC-EA9BCD528983}"/>
              </a:ext>
            </a:extLst>
          </p:cNvPr>
          <p:cNvGrpSpPr/>
          <p:nvPr/>
        </p:nvGrpSpPr>
        <p:grpSpPr>
          <a:xfrm>
            <a:off x="2571111" y="1629018"/>
            <a:ext cx="1028562" cy="1028562"/>
            <a:chOff x="8961259" y="3549013"/>
            <a:chExt cx="365760" cy="365760"/>
          </a:xfrm>
        </p:grpSpPr>
        <p:sp>
          <p:nvSpPr>
            <p:cNvPr id="12" name="Oval 11">
              <a:extLst>
                <a:ext uri="{FF2B5EF4-FFF2-40B4-BE49-F238E27FC236}">
                  <a16:creationId xmlns:a16="http://schemas.microsoft.com/office/drawing/2014/main" id="{0411A97A-BABD-D5F3-4A85-021616B36D67}"/>
                </a:ext>
              </a:extLst>
            </p:cNvPr>
            <p:cNvSpPr/>
            <p:nvPr/>
          </p:nvSpPr>
          <p:spPr>
            <a:xfrm>
              <a:off x="8961259" y="3549013"/>
              <a:ext cx="365760" cy="365760"/>
            </a:xfrm>
            <a:prstGeom prst="ellipse">
              <a:avLst/>
            </a:prstGeom>
            <a:solidFill>
              <a:schemeClr val="accent1">
                <a:lumMod val="40000"/>
                <a:lumOff val="6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29C80873-7D47-755F-2B5F-D117CDB8E068}"/>
                </a:ext>
              </a:extLst>
            </p:cNvPr>
            <p:cNvGrpSpPr>
              <a:grpSpLocks noChangeAspect="1"/>
            </p:cNvGrpSpPr>
            <p:nvPr/>
          </p:nvGrpSpPr>
          <p:grpSpPr>
            <a:xfrm>
              <a:off x="9031411" y="3609631"/>
              <a:ext cx="236770" cy="247954"/>
              <a:chOff x="6005735" y="3873810"/>
              <a:chExt cx="181277" cy="189839"/>
            </a:xfrm>
            <a:solidFill>
              <a:schemeClr val="bg1"/>
            </a:solidFill>
          </p:grpSpPr>
          <p:sp>
            <p:nvSpPr>
              <p:cNvPr id="14" name="Freeform: Shape 13">
                <a:extLst>
                  <a:ext uri="{FF2B5EF4-FFF2-40B4-BE49-F238E27FC236}">
                    <a16:creationId xmlns:a16="http://schemas.microsoft.com/office/drawing/2014/main" id="{B86564EA-2D5A-BE97-1056-D806DF053E09}"/>
                  </a:ext>
                </a:extLst>
              </p:cNvPr>
              <p:cNvSpPr/>
              <p:nvPr/>
            </p:nvSpPr>
            <p:spPr>
              <a:xfrm>
                <a:off x="6079067" y="3952491"/>
                <a:ext cx="33909" cy="33909"/>
              </a:xfrm>
              <a:custGeom>
                <a:avLst/>
                <a:gdLst>
                  <a:gd name="connsiteX0" fmla="*/ 16954 w 33909"/>
                  <a:gd name="connsiteY0" fmla="*/ 0 h 33909"/>
                  <a:gd name="connsiteX1" fmla="*/ 0 w 33909"/>
                  <a:gd name="connsiteY1" fmla="*/ 16954 h 33909"/>
                  <a:gd name="connsiteX2" fmla="*/ 16954 w 33909"/>
                  <a:gd name="connsiteY2" fmla="*/ 33909 h 33909"/>
                  <a:gd name="connsiteX3" fmla="*/ 33909 w 33909"/>
                  <a:gd name="connsiteY3" fmla="*/ 16954 h 33909"/>
                  <a:gd name="connsiteX4" fmla="*/ 16954 w 33909"/>
                  <a:gd name="connsiteY4" fmla="*/ 0 h 33909"/>
                  <a:gd name="connsiteX5" fmla="*/ 27527 w 33909"/>
                  <a:gd name="connsiteY5" fmla="*/ 16954 h 33909"/>
                  <a:gd name="connsiteX6" fmla="*/ 16954 w 33909"/>
                  <a:gd name="connsiteY6" fmla="*/ 27527 h 33909"/>
                  <a:gd name="connsiteX7" fmla="*/ 6382 w 33909"/>
                  <a:gd name="connsiteY7" fmla="*/ 16954 h 33909"/>
                  <a:gd name="connsiteX8" fmla="*/ 16954 w 33909"/>
                  <a:gd name="connsiteY8" fmla="*/ 6382 h 33909"/>
                  <a:gd name="connsiteX9" fmla="*/ 27527 w 33909"/>
                  <a:gd name="connsiteY9" fmla="*/ 16954 h 3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909" h="33909">
                    <a:moveTo>
                      <a:pt x="16954" y="0"/>
                    </a:moveTo>
                    <a:cubicBezTo>
                      <a:pt x="7620" y="0"/>
                      <a:pt x="0" y="7620"/>
                      <a:pt x="0" y="16954"/>
                    </a:cubicBezTo>
                    <a:cubicBezTo>
                      <a:pt x="0" y="26289"/>
                      <a:pt x="7620" y="33909"/>
                      <a:pt x="16954" y="33909"/>
                    </a:cubicBezTo>
                    <a:cubicBezTo>
                      <a:pt x="26289" y="33909"/>
                      <a:pt x="33909" y="26289"/>
                      <a:pt x="33909" y="16954"/>
                    </a:cubicBezTo>
                    <a:cubicBezTo>
                      <a:pt x="33909" y="7620"/>
                      <a:pt x="26289" y="0"/>
                      <a:pt x="16954" y="0"/>
                    </a:cubicBezTo>
                    <a:close/>
                    <a:moveTo>
                      <a:pt x="27527" y="16954"/>
                    </a:moveTo>
                    <a:cubicBezTo>
                      <a:pt x="27527" y="22765"/>
                      <a:pt x="22765" y="27527"/>
                      <a:pt x="16954" y="27527"/>
                    </a:cubicBezTo>
                    <a:cubicBezTo>
                      <a:pt x="11144" y="27527"/>
                      <a:pt x="6382" y="22765"/>
                      <a:pt x="6382" y="16954"/>
                    </a:cubicBezTo>
                    <a:cubicBezTo>
                      <a:pt x="6382" y="11144"/>
                      <a:pt x="11144" y="6382"/>
                      <a:pt x="16954" y="6382"/>
                    </a:cubicBezTo>
                    <a:cubicBezTo>
                      <a:pt x="22765" y="6382"/>
                      <a:pt x="27527" y="11144"/>
                      <a:pt x="27527" y="16954"/>
                    </a:cubicBezTo>
                    <a:close/>
                  </a:path>
                </a:pathLst>
              </a:custGeom>
              <a:grp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E4F2B66F-B8E5-7CBA-D1AB-5EC195D9B97C}"/>
                  </a:ext>
                </a:extLst>
              </p:cNvPr>
              <p:cNvSpPr/>
              <p:nvPr/>
            </p:nvSpPr>
            <p:spPr>
              <a:xfrm>
                <a:off x="6062732" y="3936229"/>
                <a:ext cx="66247" cy="66079"/>
              </a:xfrm>
              <a:custGeom>
                <a:avLst/>
                <a:gdLst>
                  <a:gd name="connsiteX0" fmla="*/ 30242 w 66247"/>
                  <a:gd name="connsiteY0" fmla="*/ 262 h 66079"/>
                  <a:gd name="connsiteX1" fmla="*/ 25765 w 66247"/>
                  <a:gd name="connsiteY1" fmla="*/ 3881 h 66079"/>
                  <a:gd name="connsiteX2" fmla="*/ 25479 w 66247"/>
                  <a:gd name="connsiteY2" fmla="*/ 6929 h 66079"/>
                  <a:gd name="connsiteX3" fmla="*/ 24432 w 66247"/>
                  <a:gd name="connsiteY3" fmla="*/ 10168 h 66079"/>
                  <a:gd name="connsiteX4" fmla="*/ 20145 w 66247"/>
                  <a:gd name="connsiteY4" fmla="*/ 9120 h 66079"/>
                  <a:gd name="connsiteX5" fmla="*/ 16050 w 66247"/>
                  <a:gd name="connsiteY5" fmla="*/ 6739 h 66079"/>
                  <a:gd name="connsiteX6" fmla="*/ 15573 w 66247"/>
                  <a:gd name="connsiteY6" fmla="*/ 6739 h 66079"/>
                  <a:gd name="connsiteX7" fmla="*/ 12335 w 66247"/>
                  <a:gd name="connsiteY7" fmla="*/ 7691 h 66079"/>
                  <a:gd name="connsiteX8" fmla="*/ 8049 w 66247"/>
                  <a:gd name="connsiteY8" fmla="*/ 11787 h 66079"/>
                  <a:gd name="connsiteX9" fmla="*/ 6620 w 66247"/>
                  <a:gd name="connsiteY9" fmla="*/ 16359 h 66079"/>
                  <a:gd name="connsiteX10" fmla="*/ 8906 w 66247"/>
                  <a:gd name="connsiteY10" fmla="*/ 20074 h 66079"/>
                  <a:gd name="connsiteX11" fmla="*/ 10239 w 66247"/>
                  <a:gd name="connsiteY11" fmla="*/ 24074 h 66079"/>
                  <a:gd name="connsiteX12" fmla="*/ 6715 w 66247"/>
                  <a:gd name="connsiteY12" fmla="*/ 25408 h 66079"/>
                  <a:gd name="connsiteX13" fmla="*/ 3953 w 66247"/>
                  <a:gd name="connsiteY13" fmla="*/ 25694 h 66079"/>
                  <a:gd name="connsiteX14" fmla="*/ 143 w 66247"/>
                  <a:gd name="connsiteY14" fmla="*/ 30075 h 66079"/>
                  <a:gd name="connsiteX15" fmla="*/ 143 w 66247"/>
                  <a:gd name="connsiteY15" fmla="*/ 36457 h 66079"/>
                  <a:gd name="connsiteX16" fmla="*/ 2810 w 66247"/>
                  <a:gd name="connsiteY16" fmla="*/ 40267 h 66079"/>
                  <a:gd name="connsiteX17" fmla="*/ 6620 w 66247"/>
                  <a:gd name="connsiteY17" fmla="*/ 40934 h 66079"/>
                  <a:gd name="connsiteX18" fmla="*/ 10430 w 66247"/>
                  <a:gd name="connsiteY18" fmla="*/ 42648 h 66079"/>
                  <a:gd name="connsiteX19" fmla="*/ 8906 w 66247"/>
                  <a:gd name="connsiteY19" fmla="*/ 46363 h 66079"/>
                  <a:gd name="connsiteX20" fmla="*/ 6715 w 66247"/>
                  <a:gd name="connsiteY20" fmla="*/ 49506 h 66079"/>
                  <a:gd name="connsiteX21" fmla="*/ 7477 w 66247"/>
                  <a:gd name="connsiteY21" fmla="*/ 53792 h 66079"/>
                  <a:gd name="connsiteX22" fmla="*/ 13192 w 66247"/>
                  <a:gd name="connsiteY22" fmla="*/ 59222 h 66079"/>
                  <a:gd name="connsiteX23" fmla="*/ 15573 w 66247"/>
                  <a:gd name="connsiteY23" fmla="*/ 59793 h 66079"/>
                  <a:gd name="connsiteX24" fmla="*/ 20050 w 66247"/>
                  <a:gd name="connsiteY24" fmla="*/ 57412 h 66079"/>
                  <a:gd name="connsiteX25" fmla="*/ 24051 w 66247"/>
                  <a:gd name="connsiteY25" fmla="*/ 55983 h 66079"/>
                  <a:gd name="connsiteX26" fmla="*/ 25003 w 66247"/>
                  <a:gd name="connsiteY26" fmla="*/ 56745 h 66079"/>
                  <a:gd name="connsiteX27" fmla="*/ 24622 w 66247"/>
                  <a:gd name="connsiteY27" fmla="*/ 56555 h 66079"/>
                  <a:gd name="connsiteX28" fmla="*/ 25194 w 66247"/>
                  <a:gd name="connsiteY28" fmla="*/ 57126 h 66079"/>
                  <a:gd name="connsiteX29" fmla="*/ 25479 w 66247"/>
                  <a:gd name="connsiteY29" fmla="*/ 59507 h 66079"/>
                  <a:gd name="connsiteX30" fmla="*/ 26146 w 66247"/>
                  <a:gd name="connsiteY30" fmla="*/ 63317 h 66079"/>
                  <a:gd name="connsiteX31" fmla="*/ 29956 w 66247"/>
                  <a:gd name="connsiteY31" fmla="*/ 65984 h 66079"/>
                  <a:gd name="connsiteX32" fmla="*/ 32718 w 66247"/>
                  <a:gd name="connsiteY32" fmla="*/ 66080 h 66079"/>
                  <a:gd name="connsiteX33" fmla="*/ 37481 w 66247"/>
                  <a:gd name="connsiteY33" fmla="*/ 65794 h 66079"/>
                  <a:gd name="connsiteX34" fmla="*/ 37767 w 66247"/>
                  <a:gd name="connsiteY34" fmla="*/ 65794 h 66079"/>
                  <a:gd name="connsiteX35" fmla="*/ 41005 w 66247"/>
                  <a:gd name="connsiteY35" fmla="*/ 59698 h 66079"/>
                  <a:gd name="connsiteX36" fmla="*/ 42910 w 66247"/>
                  <a:gd name="connsiteY36" fmla="*/ 55793 h 66079"/>
                  <a:gd name="connsiteX37" fmla="*/ 46530 w 66247"/>
                  <a:gd name="connsiteY37" fmla="*/ 57317 h 66079"/>
                  <a:gd name="connsiteX38" fmla="*/ 53388 w 66247"/>
                  <a:gd name="connsiteY38" fmla="*/ 59031 h 66079"/>
                  <a:gd name="connsiteX39" fmla="*/ 59579 w 66247"/>
                  <a:gd name="connsiteY39" fmla="*/ 52745 h 66079"/>
                  <a:gd name="connsiteX40" fmla="*/ 57579 w 66247"/>
                  <a:gd name="connsiteY40" fmla="*/ 46077 h 66079"/>
                  <a:gd name="connsiteX41" fmla="*/ 56245 w 66247"/>
                  <a:gd name="connsiteY41" fmla="*/ 42172 h 66079"/>
                  <a:gd name="connsiteX42" fmla="*/ 59769 w 66247"/>
                  <a:gd name="connsiteY42" fmla="*/ 40743 h 66079"/>
                  <a:gd name="connsiteX43" fmla="*/ 65389 w 66247"/>
                  <a:gd name="connsiteY43" fmla="*/ 38267 h 66079"/>
                  <a:gd name="connsiteX44" fmla="*/ 65103 w 66247"/>
                  <a:gd name="connsiteY44" fmla="*/ 27218 h 66079"/>
                  <a:gd name="connsiteX45" fmla="*/ 59769 w 66247"/>
                  <a:gd name="connsiteY45" fmla="*/ 25217 h 66079"/>
                  <a:gd name="connsiteX46" fmla="*/ 56817 w 66247"/>
                  <a:gd name="connsiteY46" fmla="*/ 24551 h 66079"/>
                  <a:gd name="connsiteX47" fmla="*/ 56817 w 66247"/>
                  <a:gd name="connsiteY47" fmla="*/ 20836 h 66079"/>
                  <a:gd name="connsiteX48" fmla="*/ 57960 w 66247"/>
                  <a:gd name="connsiteY48" fmla="*/ 19598 h 66079"/>
                  <a:gd name="connsiteX49" fmla="*/ 59103 w 66247"/>
                  <a:gd name="connsiteY49" fmla="*/ 12168 h 66079"/>
                  <a:gd name="connsiteX50" fmla="*/ 53197 w 66247"/>
                  <a:gd name="connsiteY50" fmla="*/ 6834 h 66079"/>
                  <a:gd name="connsiteX51" fmla="*/ 51197 w 66247"/>
                  <a:gd name="connsiteY51" fmla="*/ 6453 h 66079"/>
                  <a:gd name="connsiteX52" fmla="*/ 46530 w 66247"/>
                  <a:gd name="connsiteY52" fmla="*/ 8930 h 66079"/>
                  <a:gd name="connsiteX53" fmla="*/ 42434 w 66247"/>
                  <a:gd name="connsiteY53" fmla="*/ 10073 h 66079"/>
                  <a:gd name="connsiteX54" fmla="*/ 41291 w 66247"/>
                  <a:gd name="connsiteY54" fmla="*/ 6644 h 66079"/>
                  <a:gd name="connsiteX55" fmla="*/ 39767 w 66247"/>
                  <a:gd name="connsiteY55" fmla="*/ 1595 h 66079"/>
                  <a:gd name="connsiteX56" fmla="*/ 36528 w 66247"/>
                  <a:gd name="connsiteY56" fmla="*/ 71 h 66079"/>
                  <a:gd name="connsiteX57" fmla="*/ 30528 w 66247"/>
                  <a:gd name="connsiteY57" fmla="*/ 71 h 66079"/>
                  <a:gd name="connsiteX58" fmla="*/ 51578 w 66247"/>
                  <a:gd name="connsiteY58" fmla="*/ 17121 h 66079"/>
                  <a:gd name="connsiteX59" fmla="*/ 51864 w 66247"/>
                  <a:gd name="connsiteY59" fmla="*/ 29027 h 66079"/>
                  <a:gd name="connsiteX60" fmla="*/ 59579 w 66247"/>
                  <a:gd name="connsiteY60" fmla="*/ 31885 h 66079"/>
                  <a:gd name="connsiteX61" fmla="*/ 59579 w 66247"/>
                  <a:gd name="connsiteY61" fmla="*/ 31885 h 66079"/>
                  <a:gd name="connsiteX62" fmla="*/ 59579 w 66247"/>
                  <a:gd name="connsiteY62" fmla="*/ 34742 h 66079"/>
                  <a:gd name="connsiteX63" fmla="*/ 59388 w 66247"/>
                  <a:gd name="connsiteY63" fmla="*/ 34742 h 66079"/>
                  <a:gd name="connsiteX64" fmla="*/ 50244 w 66247"/>
                  <a:gd name="connsiteY64" fmla="*/ 39791 h 66079"/>
                  <a:gd name="connsiteX65" fmla="*/ 52816 w 66247"/>
                  <a:gd name="connsiteY65" fmla="*/ 50840 h 66079"/>
                  <a:gd name="connsiteX66" fmla="*/ 52911 w 66247"/>
                  <a:gd name="connsiteY66" fmla="*/ 50935 h 66079"/>
                  <a:gd name="connsiteX67" fmla="*/ 50816 w 66247"/>
                  <a:gd name="connsiteY67" fmla="*/ 53031 h 66079"/>
                  <a:gd name="connsiteX68" fmla="*/ 50721 w 66247"/>
                  <a:gd name="connsiteY68" fmla="*/ 52935 h 66079"/>
                  <a:gd name="connsiteX69" fmla="*/ 43577 w 66247"/>
                  <a:gd name="connsiteY69" fmla="*/ 49506 h 66079"/>
                  <a:gd name="connsiteX70" fmla="*/ 40910 w 66247"/>
                  <a:gd name="connsiteY70" fmla="*/ 49887 h 66079"/>
                  <a:gd name="connsiteX71" fmla="*/ 34528 w 66247"/>
                  <a:gd name="connsiteY71" fmla="*/ 59603 h 66079"/>
                  <a:gd name="connsiteX72" fmla="*/ 34528 w 66247"/>
                  <a:gd name="connsiteY72" fmla="*/ 59888 h 66079"/>
                  <a:gd name="connsiteX73" fmla="*/ 31766 w 66247"/>
                  <a:gd name="connsiteY73" fmla="*/ 59888 h 66079"/>
                  <a:gd name="connsiteX74" fmla="*/ 31766 w 66247"/>
                  <a:gd name="connsiteY74" fmla="*/ 59603 h 66079"/>
                  <a:gd name="connsiteX75" fmla="*/ 26622 w 66247"/>
                  <a:gd name="connsiteY75" fmla="*/ 50268 h 66079"/>
                  <a:gd name="connsiteX76" fmla="*/ 22812 w 66247"/>
                  <a:gd name="connsiteY76" fmla="*/ 49411 h 66079"/>
                  <a:gd name="connsiteX77" fmla="*/ 15669 w 66247"/>
                  <a:gd name="connsiteY77" fmla="*/ 52840 h 66079"/>
                  <a:gd name="connsiteX78" fmla="*/ 15573 w 66247"/>
                  <a:gd name="connsiteY78" fmla="*/ 52935 h 66079"/>
                  <a:gd name="connsiteX79" fmla="*/ 13383 w 66247"/>
                  <a:gd name="connsiteY79" fmla="*/ 50840 h 66079"/>
                  <a:gd name="connsiteX80" fmla="*/ 16431 w 66247"/>
                  <a:gd name="connsiteY80" fmla="*/ 40648 h 66079"/>
                  <a:gd name="connsiteX81" fmla="*/ 6620 w 66247"/>
                  <a:gd name="connsiteY81" fmla="*/ 34552 h 66079"/>
                  <a:gd name="connsiteX82" fmla="*/ 6334 w 66247"/>
                  <a:gd name="connsiteY82" fmla="*/ 34552 h 66079"/>
                  <a:gd name="connsiteX83" fmla="*/ 6334 w 66247"/>
                  <a:gd name="connsiteY83" fmla="*/ 31790 h 66079"/>
                  <a:gd name="connsiteX84" fmla="*/ 6810 w 66247"/>
                  <a:gd name="connsiteY84" fmla="*/ 31790 h 66079"/>
                  <a:gd name="connsiteX85" fmla="*/ 15669 w 66247"/>
                  <a:gd name="connsiteY85" fmla="*/ 27313 h 66079"/>
                  <a:gd name="connsiteX86" fmla="*/ 13287 w 66247"/>
                  <a:gd name="connsiteY86" fmla="*/ 15597 h 66079"/>
                  <a:gd name="connsiteX87" fmla="*/ 13287 w 66247"/>
                  <a:gd name="connsiteY87" fmla="*/ 15597 h 66079"/>
                  <a:gd name="connsiteX88" fmla="*/ 15478 w 66247"/>
                  <a:gd name="connsiteY88" fmla="*/ 13502 h 66079"/>
                  <a:gd name="connsiteX89" fmla="*/ 15859 w 66247"/>
                  <a:gd name="connsiteY89" fmla="*/ 13883 h 66079"/>
                  <a:gd name="connsiteX90" fmla="*/ 22908 w 66247"/>
                  <a:gd name="connsiteY90" fmla="*/ 17312 h 66079"/>
                  <a:gd name="connsiteX91" fmla="*/ 28146 w 66247"/>
                  <a:gd name="connsiteY91" fmla="*/ 15502 h 66079"/>
                  <a:gd name="connsiteX92" fmla="*/ 31861 w 66247"/>
                  <a:gd name="connsiteY92" fmla="*/ 6739 h 66079"/>
                  <a:gd name="connsiteX93" fmla="*/ 31861 w 66247"/>
                  <a:gd name="connsiteY93" fmla="*/ 6739 h 66079"/>
                  <a:gd name="connsiteX94" fmla="*/ 34719 w 66247"/>
                  <a:gd name="connsiteY94" fmla="*/ 6739 h 66079"/>
                  <a:gd name="connsiteX95" fmla="*/ 34719 w 66247"/>
                  <a:gd name="connsiteY95" fmla="*/ 7025 h 66079"/>
                  <a:gd name="connsiteX96" fmla="*/ 38910 w 66247"/>
                  <a:gd name="connsiteY96" fmla="*/ 15788 h 66079"/>
                  <a:gd name="connsiteX97" fmla="*/ 43767 w 66247"/>
                  <a:gd name="connsiteY97" fmla="*/ 17312 h 66079"/>
                  <a:gd name="connsiteX98" fmla="*/ 50721 w 66247"/>
                  <a:gd name="connsiteY98" fmla="*/ 13978 h 66079"/>
                  <a:gd name="connsiteX99" fmla="*/ 51006 w 66247"/>
                  <a:gd name="connsiteY99" fmla="*/ 13692 h 66079"/>
                  <a:gd name="connsiteX100" fmla="*/ 53102 w 66247"/>
                  <a:gd name="connsiteY100" fmla="*/ 15692 h 66079"/>
                  <a:gd name="connsiteX101" fmla="*/ 51673 w 66247"/>
                  <a:gd name="connsiteY101" fmla="*/ 17312 h 66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6247" h="66079">
                    <a:moveTo>
                      <a:pt x="30242" y="262"/>
                    </a:moveTo>
                    <a:cubicBezTo>
                      <a:pt x="28242" y="452"/>
                      <a:pt x="26432" y="1976"/>
                      <a:pt x="25765" y="3881"/>
                    </a:cubicBezTo>
                    <a:cubicBezTo>
                      <a:pt x="25384" y="4929"/>
                      <a:pt x="25479" y="5977"/>
                      <a:pt x="25479" y="6929"/>
                    </a:cubicBezTo>
                    <a:cubicBezTo>
                      <a:pt x="25479" y="8549"/>
                      <a:pt x="25479" y="9406"/>
                      <a:pt x="24432" y="10168"/>
                    </a:cubicBezTo>
                    <a:cubicBezTo>
                      <a:pt x="22622" y="11406"/>
                      <a:pt x="21574" y="10454"/>
                      <a:pt x="20145" y="9120"/>
                    </a:cubicBezTo>
                    <a:cubicBezTo>
                      <a:pt x="19002" y="8072"/>
                      <a:pt x="17764" y="6834"/>
                      <a:pt x="16050" y="6739"/>
                    </a:cubicBezTo>
                    <a:lnTo>
                      <a:pt x="15573" y="6739"/>
                    </a:lnTo>
                    <a:cubicBezTo>
                      <a:pt x="14430" y="6739"/>
                      <a:pt x="13287" y="7025"/>
                      <a:pt x="12335" y="7691"/>
                    </a:cubicBezTo>
                    <a:cubicBezTo>
                      <a:pt x="11382" y="8358"/>
                      <a:pt x="8715" y="11025"/>
                      <a:pt x="8049" y="11787"/>
                    </a:cubicBezTo>
                    <a:cubicBezTo>
                      <a:pt x="6810" y="13121"/>
                      <a:pt x="6334" y="14645"/>
                      <a:pt x="6620" y="16359"/>
                    </a:cubicBezTo>
                    <a:cubicBezTo>
                      <a:pt x="6810" y="17883"/>
                      <a:pt x="7953" y="19026"/>
                      <a:pt x="8906" y="20074"/>
                    </a:cubicBezTo>
                    <a:cubicBezTo>
                      <a:pt x="10430" y="21693"/>
                      <a:pt x="11097" y="22455"/>
                      <a:pt x="10239" y="24074"/>
                    </a:cubicBezTo>
                    <a:cubicBezTo>
                      <a:pt x="9573" y="25217"/>
                      <a:pt x="8715" y="25408"/>
                      <a:pt x="6715" y="25408"/>
                    </a:cubicBezTo>
                    <a:cubicBezTo>
                      <a:pt x="5858" y="25408"/>
                      <a:pt x="4905" y="25408"/>
                      <a:pt x="3953" y="25694"/>
                    </a:cubicBezTo>
                    <a:cubicBezTo>
                      <a:pt x="2048" y="26170"/>
                      <a:pt x="333" y="28075"/>
                      <a:pt x="143" y="30075"/>
                    </a:cubicBezTo>
                    <a:cubicBezTo>
                      <a:pt x="-48" y="31409"/>
                      <a:pt x="-48" y="35028"/>
                      <a:pt x="143" y="36457"/>
                    </a:cubicBezTo>
                    <a:cubicBezTo>
                      <a:pt x="333" y="37981"/>
                      <a:pt x="1476" y="39600"/>
                      <a:pt x="2810" y="40267"/>
                    </a:cubicBezTo>
                    <a:cubicBezTo>
                      <a:pt x="3953" y="40838"/>
                      <a:pt x="5286" y="40934"/>
                      <a:pt x="6620" y="40934"/>
                    </a:cubicBezTo>
                    <a:cubicBezTo>
                      <a:pt x="9001" y="40934"/>
                      <a:pt x="9954" y="41124"/>
                      <a:pt x="10430" y="42648"/>
                    </a:cubicBezTo>
                    <a:cubicBezTo>
                      <a:pt x="11001" y="44363"/>
                      <a:pt x="10239" y="45029"/>
                      <a:pt x="8906" y="46363"/>
                    </a:cubicBezTo>
                    <a:cubicBezTo>
                      <a:pt x="8049" y="47220"/>
                      <a:pt x="7001" y="48173"/>
                      <a:pt x="6715" y="49506"/>
                    </a:cubicBezTo>
                    <a:cubicBezTo>
                      <a:pt x="6429" y="51030"/>
                      <a:pt x="6715" y="52745"/>
                      <a:pt x="7477" y="53792"/>
                    </a:cubicBezTo>
                    <a:cubicBezTo>
                      <a:pt x="7953" y="54554"/>
                      <a:pt x="12240" y="58745"/>
                      <a:pt x="13192" y="59222"/>
                    </a:cubicBezTo>
                    <a:cubicBezTo>
                      <a:pt x="14049" y="59603"/>
                      <a:pt x="14811" y="59793"/>
                      <a:pt x="15573" y="59793"/>
                    </a:cubicBezTo>
                    <a:cubicBezTo>
                      <a:pt x="17574" y="59793"/>
                      <a:pt x="18907" y="58555"/>
                      <a:pt x="20050" y="57412"/>
                    </a:cubicBezTo>
                    <a:cubicBezTo>
                      <a:pt x="21288" y="56174"/>
                      <a:pt x="22336" y="55316"/>
                      <a:pt x="24051" y="55983"/>
                    </a:cubicBezTo>
                    <a:cubicBezTo>
                      <a:pt x="24527" y="56174"/>
                      <a:pt x="24813" y="56459"/>
                      <a:pt x="25003" y="56745"/>
                    </a:cubicBezTo>
                    <a:lnTo>
                      <a:pt x="24622" y="56555"/>
                    </a:lnTo>
                    <a:lnTo>
                      <a:pt x="25194" y="57126"/>
                    </a:lnTo>
                    <a:cubicBezTo>
                      <a:pt x="25384" y="57698"/>
                      <a:pt x="25479" y="58460"/>
                      <a:pt x="25479" y="59507"/>
                    </a:cubicBezTo>
                    <a:cubicBezTo>
                      <a:pt x="25479" y="60746"/>
                      <a:pt x="25479" y="62079"/>
                      <a:pt x="26146" y="63317"/>
                    </a:cubicBezTo>
                    <a:cubicBezTo>
                      <a:pt x="26908" y="64746"/>
                      <a:pt x="28432" y="65794"/>
                      <a:pt x="29956" y="65984"/>
                    </a:cubicBezTo>
                    <a:cubicBezTo>
                      <a:pt x="30432" y="65984"/>
                      <a:pt x="31480" y="66080"/>
                      <a:pt x="32718" y="66080"/>
                    </a:cubicBezTo>
                    <a:cubicBezTo>
                      <a:pt x="34623" y="66080"/>
                      <a:pt x="37290" y="65794"/>
                      <a:pt x="37481" y="65794"/>
                    </a:cubicBezTo>
                    <a:lnTo>
                      <a:pt x="37767" y="65794"/>
                    </a:lnTo>
                    <a:cubicBezTo>
                      <a:pt x="40815" y="64556"/>
                      <a:pt x="41005" y="61793"/>
                      <a:pt x="41005" y="59698"/>
                    </a:cubicBezTo>
                    <a:cubicBezTo>
                      <a:pt x="41005" y="57507"/>
                      <a:pt x="41196" y="56269"/>
                      <a:pt x="42910" y="55793"/>
                    </a:cubicBezTo>
                    <a:cubicBezTo>
                      <a:pt x="44339" y="55412"/>
                      <a:pt x="45387" y="56174"/>
                      <a:pt x="46530" y="57317"/>
                    </a:cubicBezTo>
                    <a:cubicBezTo>
                      <a:pt x="48149" y="58841"/>
                      <a:pt x="50244" y="60460"/>
                      <a:pt x="53388" y="59031"/>
                    </a:cubicBezTo>
                    <a:cubicBezTo>
                      <a:pt x="54626" y="58460"/>
                      <a:pt x="59007" y="54078"/>
                      <a:pt x="59579" y="52745"/>
                    </a:cubicBezTo>
                    <a:cubicBezTo>
                      <a:pt x="60912" y="49506"/>
                      <a:pt x="59007" y="47506"/>
                      <a:pt x="57579" y="46077"/>
                    </a:cubicBezTo>
                    <a:cubicBezTo>
                      <a:pt x="56150" y="44648"/>
                      <a:pt x="55483" y="43791"/>
                      <a:pt x="56245" y="42172"/>
                    </a:cubicBezTo>
                    <a:cubicBezTo>
                      <a:pt x="56817" y="40934"/>
                      <a:pt x="57864" y="40838"/>
                      <a:pt x="59769" y="40743"/>
                    </a:cubicBezTo>
                    <a:cubicBezTo>
                      <a:pt x="61674" y="40743"/>
                      <a:pt x="63960" y="40743"/>
                      <a:pt x="65389" y="38267"/>
                    </a:cubicBezTo>
                    <a:cubicBezTo>
                      <a:pt x="66532" y="36266"/>
                      <a:pt x="66627" y="29218"/>
                      <a:pt x="65103" y="27218"/>
                    </a:cubicBezTo>
                    <a:cubicBezTo>
                      <a:pt x="63579" y="25217"/>
                      <a:pt x="61484" y="25217"/>
                      <a:pt x="59769" y="25217"/>
                    </a:cubicBezTo>
                    <a:cubicBezTo>
                      <a:pt x="58341" y="25217"/>
                      <a:pt x="57388" y="25217"/>
                      <a:pt x="56817" y="24551"/>
                    </a:cubicBezTo>
                    <a:cubicBezTo>
                      <a:pt x="55864" y="23503"/>
                      <a:pt x="55864" y="22074"/>
                      <a:pt x="56817" y="20836"/>
                    </a:cubicBezTo>
                    <a:cubicBezTo>
                      <a:pt x="57198" y="20455"/>
                      <a:pt x="57579" y="20074"/>
                      <a:pt x="57960" y="19598"/>
                    </a:cubicBezTo>
                    <a:cubicBezTo>
                      <a:pt x="59579" y="17978"/>
                      <a:pt x="61770" y="15692"/>
                      <a:pt x="59103" y="12168"/>
                    </a:cubicBezTo>
                    <a:cubicBezTo>
                      <a:pt x="58436" y="11311"/>
                      <a:pt x="54531" y="7406"/>
                      <a:pt x="53197" y="6834"/>
                    </a:cubicBezTo>
                    <a:cubicBezTo>
                      <a:pt x="52530" y="6548"/>
                      <a:pt x="51864" y="6453"/>
                      <a:pt x="51197" y="6453"/>
                    </a:cubicBezTo>
                    <a:cubicBezTo>
                      <a:pt x="49101" y="6453"/>
                      <a:pt x="47768" y="7787"/>
                      <a:pt x="46530" y="8930"/>
                    </a:cubicBezTo>
                    <a:cubicBezTo>
                      <a:pt x="45101" y="10263"/>
                      <a:pt x="44148" y="11120"/>
                      <a:pt x="42434" y="10073"/>
                    </a:cubicBezTo>
                    <a:cubicBezTo>
                      <a:pt x="41291" y="9406"/>
                      <a:pt x="41291" y="8453"/>
                      <a:pt x="41291" y="6644"/>
                    </a:cubicBezTo>
                    <a:cubicBezTo>
                      <a:pt x="41291" y="5120"/>
                      <a:pt x="41291" y="3215"/>
                      <a:pt x="39767" y="1595"/>
                    </a:cubicBezTo>
                    <a:cubicBezTo>
                      <a:pt x="39005" y="833"/>
                      <a:pt x="37576" y="167"/>
                      <a:pt x="36528" y="71"/>
                    </a:cubicBezTo>
                    <a:cubicBezTo>
                      <a:pt x="35100" y="-24"/>
                      <a:pt x="31861" y="-24"/>
                      <a:pt x="30528" y="71"/>
                    </a:cubicBezTo>
                    <a:close/>
                    <a:moveTo>
                      <a:pt x="51578" y="17121"/>
                    </a:moveTo>
                    <a:cubicBezTo>
                      <a:pt x="48720" y="20741"/>
                      <a:pt x="48816" y="25598"/>
                      <a:pt x="51864" y="29027"/>
                    </a:cubicBezTo>
                    <a:cubicBezTo>
                      <a:pt x="54435" y="31885"/>
                      <a:pt x="57769" y="31885"/>
                      <a:pt x="59579" y="31885"/>
                    </a:cubicBezTo>
                    <a:lnTo>
                      <a:pt x="59579" y="31885"/>
                    </a:lnTo>
                    <a:cubicBezTo>
                      <a:pt x="59579" y="32742"/>
                      <a:pt x="59579" y="33885"/>
                      <a:pt x="59579" y="34742"/>
                    </a:cubicBezTo>
                    <a:cubicBezTo>
                      <a:pt x="59579" y="34742"/>
                      <a:pt x="59484" y="34742"/>
                      <a:pt x="59388" y="34742"/>
                    </a:cubicBezTo>
                    <a:cubicBezTo>
                      <a:pt x="57388" y="34742"/>
                      <a:pt x="52530" y="34838"/>
                      <a:pt x="50244" y="39791"/>
                    </a:cubicBezTo>
                    <a:cubicBezTo>
                      <a:pt x="47577" y="45506"/>
                      <a:pt x="51387" y="49411"/>
                      <a:pt x="52816" y="50840"/>
                    </a:cubicBezTo>
                    <a:cubicBezTo>
                      <a:pt x="52816" y="50840"/>
                      <a:pt x="52816" y="50840"/>
                      <a:pt x="52911" y="50935"/>
                    </a:cubicBezTo>
                    <a:cubicBezTo>
                      <a:pt x="52245" y="51602"/>
                      <a:pt x="51483" y="52459"/>
                      <a:pt x="50816" y="53031"/>
                    </a:cubicBezTo>
                    <a:cubicBezTo>
                      <a:pt x="50816" y="53031"/>
                      <a:pt x="50816" y="53031"/>
                      <a:pt x="50721" y="52935"/>
                    </a:cubicBezTo>
                    <a:cubicBezTo>
                      <a:pt x="49387" y="51697"/>
                      <a:pt x="47101" y="49506"/>
                      <a:pt x="43577" y="49506"/>
                    </a:cubicBezTo>
                    <a:cubicBezTo>
                      <a:pt x="42720" y="49506"/>
                      <a:pt x="41767" y="49601"/>
                      <a:pt x="40910" y="49887"/>
                    </a:cubicBezTo>
                    <a:cubicBezTo>
                      <a:pt x="34814" y="51792"/>
                      <a:pt x="34623" y="57317"/>
                      <a:pt x="34528" y="59603"/>
                    </a:cubicBezTo>
                    <a:lnTo>
                      <a:pt x="34528" y="59888"/>
                    </a:lnTo>
                    <a:cubicBezTo>
                      <a:pt x="33766" y="59888"/>
                      <a:pt x="32623" y="59888"/>
                      <a:pt x="31766" y="59888"/>
                    </a:cubicBezTo>
                    <a:lnTo>
                      <a:pt x="31766" y="59603"/>
                    </a:lnTo>
                    <a:cubicBezTo>
                      <a:pt x="31766" y="57507"/>
                      <a:pt x="31766" y="52649"/>
                      <a:pt x="26622" y="50268"/>
                    </a:cubicBezTo>
                    <a:cubicBezTo>
                      <a:pt x="25384" y="49697"/>
                      <a:pt x="24051" y="49411"/>
                      <a:pt x="22812" y="49411"/>
                    </a:cubicBezTo>
                    <a:cubicBezTo>
                      <a:pt x="19288" y="49411"/>
                      <a:pt x="17002" y="51506"/>
                      <a:pt x="15669" y="52840"/>
                    </a:cubicBezTo>
                    <a:cubicBezTo>
                      <a:pt x="15669" y="52840"/>
                      <a:pt x="15669" y="52840"/>
                      <a:pt x="15573" y="52935"/>
                    </a:cubicBezTo>
                    <a:cubicBezTo>
                      <a:pt x="14907" y="52268"/>
                      <a:pt x="14049" y="51506"/>
                      <a:pt x="13383" y="50840"/>
                    </a:cubicBezTo>
                    <a:cubicBezTo>
                      <a:pt x="15002" y="49316"/>
                      <a:pt x="18240" y="46077"/>
                      <a:pt x="16431" y="40648"/>
                    </a:cubicBezTo>
                    <a:cubicBezTo>
                      <a:pt x="14526" y="34742"/>
                      <a:pt x="8811" y="34552"/>
                      <a:pt x="6620" y="34552"/>
                    </a:cubicBezTo>
                    <a:lnTo>
                      <a:pt x="6334" y="34552"/>
                    </a:lnTo>
                    <a:cubicBezTo>
                      <a:pt x="6334" y="33695"/>
                      <a:pt x="6334" y="32647"/>
                      <a:pt x="6334" y="31790"/>
                    </a:cubicBezTo>
                    <a:cubicBezTo>
                      <a:pt x="6525" y="31790"/>
                      <a:pt x="6620" y="31790"/>
                      <a:pt x="6810" y="31790"/>
                    </a:cubicBezTo>
                    <a:cubicBezTo>
                      <a:pt x="8715" y="31790"/>
                      <a:pt x="13097" y="31790"/>
                      <a:pt x="15669" y="27313"/>
                    </a:cubicBezTo>
                    <a:cubicBezTo>
                      <a:pt x="19002" y="21503"/>
                      <a:pt x="14907" y="17312"/>
                      <a:pt x="13287" y="15597"/>
                    </a:cubicBezTo>
                    <a:cubicBezTo>
                      <a:pt x="13287" y="15597"/>
                      <a:pt x="13287" y="15597"/>
                      <a:pt x="13287" y="15597"/>
                    </a:cubicBezTo>
                    <a:cubicBezTo>
                      <a:pt x="13954" y="14930"/>
                      <a:pt x="14811" y="14073"/>
                      <a:pt x="15478" y="13502"/>
                    </a:cubicBezTo>
                    <a:cubicBezTo>
                      <a:pt x="15573" y="13597"/>
                      <a:pt x="15764" y="13692"/>
                      <a:pt x="15859" y="13883"/>
                    </a:cubicBezTo>
                    <a:cubicBezTo>
                      <a:pt x="17193" y="15121"/>
                      <a:pt x="19479" y="17312"/>
                      <a:pt x="22908" y="17312"/>
                    </a:cubicBezTo>
                    <a:cubicBezTo>
                      <a:pt x="24717" y="17312"/>
                      <a:pt x="26527" y="16740"/>
                      <a:pt x="28146" y="15502"/>
                    </a:cubicBezTo>
                    <a:cubicBezTo>
                      <a:pt x="31956" y="12835"/>
                      <a:pt x="31861" y="8930"/>
                      <a:pt x="31861" y="6739"/>
                    </a:cubicBezTo>
                    <a:lnTo>
                      <a:pt x="31861" y="6739"/>
                    </a:lnTo>
                    <a:cubicBezTo>
                      <a:pt x="32623" y="6739"/>
                      <a:pt x="33957" y="6739"/>
                      <a:pt x="34719" y="6739"/>
                    </a:cubicBezTo>
                    <a:lnTo>
                      <a:pt x="34719" y="7025"/>
                    </a:lnTo>
                    <a:cubicBezTo>
                      <a:pt x="34719" y="9025"/>
                      <a:pt x="34719" y="13216"/>
                      <a:pt x="38910" y="15788"/>
                    </a:cubicBezTo>
                    <a:cubicBezTo>
                      <a:pt x="40529" y="16740"/>
                      <a:pt x="42148" y="17312"/>
                      <a:pt x="43767" y="17312"/>
                    </a:cubicBezTo>
                    <a:cubicBezTo>
                      <a:pt x="47196" y="17312"/>
                      <a:pt x="49387" y="15216"/>
                      <a:pt x="50721" y="13978"/>
                    </a:cubicBezTo>
                    <a:cubicBezTo>
                      <a:pt x="50721" y="13978"/>
                      <a:pt x="50911" y="13787"/>
                      <a:pt x="51006" y="13692"/>
                    </a:cubicBezTo>
                    <a:cubicBezTo>
                      <a:pt x="51673" y="14264"/>
                      <a:pt x="52530" y="15121"/>
                      <a:pt x="53102" y="15692"/>
                    </a:cubicBezTo>
                    <a:cubicBezTo>
                      <a:pt x="52626" y="16169"/>
                      <a:pt x="52149" y="16740"/>
                      <a:pt x="51673" y="17312"/>
                    </a:cubicBezTo>
                    <a:close/>
                  </a:path>
                </a:pathLst>
              </a:custGeom>
              <a:grp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8733CC59-0807-4A38-07B2-6D01EF2D97B9}"/>
                  </a:ext>
                </a:extLst>
              </p:cNvPr>
              <p:cNvSpPr/>
              <p:nvPr/>
            </p:nvSpPr>
            <p:spPr>
              <a:xfrm>
                <a:off x="6005735" y="4005071"/>
                <a:ext cx="71151" cy="58578"/>
              </a:xfrm>
              <a:custGeom>
                <a:avLst/>
                <a:gdLst>
                  <a:gd name="connsiteX0" fmla="*/ 6953 w 71151"/>
                  <a:gd name="connsiteY0" fmla="*/ 46292 h 58578"/>
                  <a:gd name="connsiteX1" fmla="*/ 31337 w 71151"/>
                  <a:gd name="connsiteY1" fmla="*/ 46292 h 58578"/>
                  <a:gd name="connsiteX2" fmla="*/ 31337 w 71151"/>
                  <a:gd name="connsiteY2" fmla="*/ 50006 h 58578"/>
                  <a:gd name="connsiteX3" fmla="*/ 23813 w 71151"/>
                  <a:gd name="connsiteY3" fmla="*/ 50006 h 58578"/>
                  <a:gd name="connsiteX4" fmla="*/ 19526 w 71151"/>
                  <a:gd name="connsiteY4" fmla="*/ 54292 h 58578"/>
                  <a:gd name="connsiteX5" fmla="*/ 23813 w 71151"/>
                  <a:gd name="connsiteY5" fmla="*/ 58579 h 58578"/>
                  <a:gd name="connsiteX6" fmla="*/ 47435 w 71151"/>
                  <a:gd name="connsiteY6" fmla="*/ 58579 h 58578"/>
                  <a:gd name="connsiteX7" fmla="*/ 51721 w 71151"/>
                  <a:gd name="connsiteY7" fmla="*/ 54292 h 58578"/>
                  <a:gd name="connsiteX8" fmla="*/ 47435 w 71151"/>
                  <a:gd name="connsiteY8" fmla="*/ 50006 h 58578"/>
                  <a:gd name="connsiteX9" fmla="*/ 39910 w 71151"/>
                  <a:gd name="connsiteY9" fmla="*/ 50006 h 58578"/>
                  <a:gd name="connsiteX10" fmla="*/ 39910 w 71151"/>
                  <a:gd name="connsiteY10" fmla="*/ 46292 h 58578"/>
                  <a:gd name="connsiteX11" fmla="*/ 64294 w 71151"/>
                  <a:gd name="connsiteY11" fmla="*/ 46292 h 58578"/>
                  <a:gd name="connsiteX12" fmla="*/ 71152 w 71151"/>
                  <a:gd name="connsiteY12" fmla="*/ 39433 h 58578"/>
                  <a:gd name="connsiteX13" fmla="*/ 71152 w 71151"/>
                  <a:gd name="connsiteY13" fmla="*/ 6858 h 58578"/>
                  <a:gd name="connsiteX14" fmla="*/ 64294 w 71151"/>
                  <a:gd name="connsiteY14" fmla="*/ 0 h 58578"/>
                  <a:gd name="connsiteX15" fmla="*/ 6858 w 71151"/>
                  <a:gd name="connsiteY15" fmla="*/ 0 h 58578"/>
                  <a:gd name="connsiteX16" fmla="*/ 0 w 71151"/>
                  <a:gd name="connsiteY16" fmla="*/ 6858 h 58578"/>
                  <a:gd name="connsiteX17" fmla="*/ 0 w 71151"/>
                  <a:gd name="connsiteY17" fmla="*/ 39433 h 58578"/>
                  <a:gd name="connsiteX18" fmla="*/ 6858 w 71151"/>
                  <a:gd name="connsiteY18" fmla="*/ 46292 h 58578"/>
                  <a:gd name="connsiteX19" fmla="*/ 8763 w 71151"/>
                  <a:gd name="connsiteY19" fmla="*/ 37719 h 58578"/>
                  <a:gd name="connsiteX20" fmla="*/ 8763 w 71151"/>
                  <a:gd name="connsiteY20" fmla="*/ 8668 h 58578"/>
                  <a:gd name="connsiteX21" fmla="*/ 62579 w 71151"/>
                  <a:gd name="connsiteY21" fmla="*/ 8668 h 58578"/>
                  <a:gd name="connsiteX22" fmla="*/ 62579 w 71151"/>
                  <a:gd name="connsiteY22" fmla="*/ 37719 h 58578"/>
                  <a:gd name="connsiteX23" fmla="*/ 8763 w 71151"/>
                  <a:gd name="connsiteY23" fmla="*/ 37719 h 5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151" h="58578">
                    <a:moveTo>
                      <a:pt x="6953" y="46292"/>
                    </a:moveTo>
                    <a:lnTo>
                      <a:pt x="31337" y="46292"/>
                    </a:lnTo>
                    <a:lnTo>
                      <a:pt x="31337" y="50006"/>
                    </a:lnTo>
                    <a:lnTo>
                      <a:pt x="23813" y="50006"/>
                    </a:lnTo>
                    <a:cubicBezTo>
                      <a:pt x="21431" y="50006"/>
                      <a:pt x="19526" y="51911"/>
                      <a:pt x="19526" y="54292"/>
                    </a:cubicBezTo>
                    <a:cubicBezTo>
                      <a:pt x="19526" y="56674"/>
                      <a:pt x="21431" y="58579"/>
                      <a:pt x="23813" y="58579"/>
                    </a:cubicBezTo>
                    <a:lnTo>
                      <a:pt x="47435" y="58579"/>
                    </a:lnTo>
                    <a:cubicBezTo>
                      <a:pt x="49816" y="58579"/>
                      <a:pt x="51721" y="56674"/>
                      <a:pt x="51721" y="54292"/>
                    </a:cubicBezTo>
                    <a:cubicBezTo>
                      <a:pt x="51721" y="51911"/>
                      <a:pt x="49816" y="50006"/>
                      <a:pt x="47435" y="50006"/>
                    </a:cubicBezTo>
                    <a:lnTo>
                      <a:pt x="39910" y="50006"/>
                    </a:lnTo>
                    <a:lnTo>
                      <a:pt x="39910" y="46292"/>
                    </a:lnTo>
                    <a:lnTo>
                      <a:pt x="64294" y="46292"/>
                    </a:lnTo>
                    <a:cubicBezTo>
                      <a:pt x="68104" y="46292"/>
                      <a:pt x="71152" y="43244"/>
                      <a:pt x="71152" y="39433"/>
                    </a:cubicBezTo>
                    <a:lnTo>
                      <a:pt x="71152" y="6858"/>
                    </a:lnTo>
                    <a:cubicBezTo>
                      <a:pt x="71152" y="3048"/>
                      <a:pt x="68104" y="0"/>
                      <a:pt x="64294" y="0"/>
                    </a:cubicBezTo>
                    <a:lnTo>
                      <a:pt x="6858" y="0"/>
                    </a:lnTo>
                    <a:cubicBezTo>
                      <a:pt x="3048" y="0"/>
                      <a:pt x="0" y="3048"/>
                      <a:pt x="0" y="6858"/>
                    </a:cubicBezTo>
                    <a:lnTo>
                      <a:pt x="0" y="39433"/>
                    </a:lnTo>
                    <a:cubicBezTo>
                      <a:pt x="0" y="43244"/>
                      <a:pt x="3048" y="46292"/>
                      <a:pt x="6858" y="46292"/>
                    </a:cubicBezTo>
                    <a:close/>
                    <a:moveTo>
                      <a:pt x="8763" y="37719"/>
                    </a:moveTo>
                    <a:lnTo>
                      <a:pt x="8763" y="8668"/>
                    </a:lnTo>
                    <a:lnTo>
                      <a:pt x="62579" y="8668"/>
                    </a:lnTo>
                    <a:lnTo>
                      <a:pt x="62579" y="37719"/>
                    </a:lnTo>
                    <a:lnTo>
                      <a:pt x="8763" y="37719"/>
                    </a:lnTo>
                    <a:close/>
                  </a:path>
                </a:pathLst>
              </a:custGeom>
              <a:grp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D366DEC-50FE-71AB-DBD6-1AA137CF1734}"/>
                  </a:ext>
                </a:extLst>
              </p:cNvPr>
              <p:cNvSpPr/>
              <p:nvPr/>
            </p:nvSpPr>
            <p:spPr>
              <a:xfrm>
                <a:off x="6005838" y="3880485"/>
                <a:ext cx="54482" cy="69056"/>
              </a:xfrm>
              <a:custGeom>
                <a:avLst/>
                <a:gdLst>
                  <a:gd name="connsiteX0" fmla="*/ 5048 w 54482"/>
                  <a:gd name="connsiteY0" fmla="*/ 69056 h 69056"/>
                  <a:gd name="connsiteX1" fmla="*/ 49435 w 54482"/>
                  <a:gd name="connsiteY1" fmla="*/ 69056 h 69056"/>
                  <a:gd name="connsiteX2" fmla="*/ 54483 w 54482"/>
                  <a:gd name="connsiteY2" fmla="*/ 64008 h 69056"/>
                  <a:gd name="connsiteX3" fmla="*/ 54483 w 54482"/>
                  <a:gd name="connsiteY3" fmla="*/ 5048 h 69056"/>
                  <a:gd name="connsiteX4" fmla="*/ 49435 w 54482"/>
                  <a:gd name="connsiteY4" fmla="*/ 0 h 69056"/>
                  <a:gd name="connsiteX5" fmla="*/ 5048 w 54482"/>
                  <a:gd name="connsiteY5" fmla="*/ 0 h 69056"/>
                  <a:gd name="connsiteX6" fmla="*/ 0 w 54482"/>
                  <a:gd name="connsiteY6" fmla="*/ 5048 h 69056"/>
                  <a:gd name="connsiteX7" fmla="*/ 0 w 54482"/>
                  <a:gd name="connsiteY7" fmla="*/ 64008 h 69056"/>
                  <a:gd name="connsiteX8" fmla="*/ 5048 w 54482"/>
                  <a:gd name="connsiteY8" fmla="*/ 69056 h 69056"/>
                  <a:gd name="connsiteX9" fmla="*/ 46863 w 54482"/>
                  <a:gd name="connsiteY9" fmla="*/ 7620 h 69056"/>
                  <a:gd name="connsiteX10" fmla="*/ 46863 w 54482"/>
                  <a:gd name="connsiteY10" fmla="*/ 61531 h 69056"/>
                  <a:gd name="connsiteX11" fmla="*/ 7525 w 54482"/>
                  <a:gd name="connsiteY11" fmla="*/ 61531 h 69056"/>
                  <a:gd name="connsiteX12" fmla="*/ 7525 w 54482"/>
                  <a:gd name="connsiteY12" fmla="*/ 7620 h 69056"/>
                  <a:gd name="connsiteX13" fmla="*/ 46863 w 54482"/>
                  <a:gd name="connsiteY13" fmla="*/ 7620 h 6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482" h="69056">
                    <a:moveTo>
                      <a:pt x="5048" y="69056"/>
                    </a:moveTo>
                    <a:lnTo>
                      <a:pt x="49435" y="69056"/>
                    </a:lnTo>
                    <a:cubicBezTo>
                      <a:pt x="52197" y="69056"/>
                      <a:pt x="54483" y="66770"/>
                      <a:pt x="54483" y="64008"/>
                    </a:cubicBezTo>
                    <a:lnTo>
                      <a:pt x="54483" y="5048"/>
                    </a:lnTo>
                    <a:cubicBezTo>
                      <a:pt x="54483" y="2286"/>
                      <a:pt x="52197" y="0"/>
                      <a:pt x="49435" y="0"/>
                    </a:cubicBezTo>
                    <a:lnTo>
                      <a:pt x="5048" y="0"/>
                    </a:lnTo>
                    <a:cubicBezTo>
                      <a:pt x="2286" y="0"/>
                      <a:pt x="0" y="2286"/>
                      <a:pt x="0" y="5048"/>
                    </a:cubicBezTo>
                    <a:lnTo>
                      <a:pt x="0" y="64008"/>
                    </a:lnTo>
                    <a:cubicBezTo>
                      <a:pt x="0" y="66770"/>
                      <a:pt x="2286" y="69056"/>
                      <a:pt x="5048" y="69056"/>
                    </a:cubicBezTo>
                    <a:close/>
                    <a:moveTo>
                      <a:pt x="46863" y="7620"/>
                    </a:moveTo>
                    <a:lnTo>
                      <a:pt x="46863" y="61531"/>
                    </a:lnTo>
                    <a:lnTo>
                      <a:pt x="7525" y="61531"/>
                    </a:lnTo>
                    <a:lnTo>
                      <a:pt x="7525" y="7620"/>
                    </a:lnTo>
                    <a:lnTo>
                      <a:pt x="46863" y="7620"/>
                    </a:lnTo>
                    <a:close/>
                  </a:path>
                </a:pathLst>
              </a:custGeom>
              <a:grp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64D030A1-7B92-A5FE-3520-DFA972060774}"/>
                  </a:ext>
                </a:extLst>
              </p:cNvPr>
              <p:cNvSpPr/>
              <p:nvPr/>
            </p:nvSpPr>
            <p:spPr>
              <a:xfrm>
                <a:off x="6108527" y="3873810"/>
                <a:ext cx="78485" cy="60007"/>
              </a:xfrm>
              <a:custGeom>
                <a:avLst/>
                <a:gdLst>
                  <a:gd name="connsiteX0" fmla="*/ 5048 w 78485"/>
                  <a:gd name="connsiteY0" fmla="*/ 60008 h 60007"/>
                  <a:gd name="connsiteX1" fmla="*/ 73438 w 78485"/>
                  <a:gd name="connsiteY1" fmla="*/ 60008 h 60007"/>
                  <a:gd name="connsiteX2" fmla="*/ 78486 w 78485"/>
                  <a:gd name="connsiteY2" fmla="*/ 54959 h 60007"/>
                  <a:gd name="connsiteX3" fmla="*/ 78486 w 78485"/>
                  <a:gd name="connsiteY3" fmla="*/ 52197 h 60007"/>
                  <a:gd name="connsiteX4" fmla="*/ 73724 w 78485"/>
                  <a:gd name="connsiteY4" fmla="*/ 47244 h 60007"/>
                  <a:gd name="connsiteX5" fmla="*/ 73724 w 78485"/>
                  <a:gd name="connsiteY5" fmla="*/ 5048 h 60007"/>
                  <a:gd name="connsiteX6" fmla="*/ 68675 w 78485"/>
                  <a:gd name="connsiteY6" fmla="*/ 0 h 60007"/>
                  <a:gd name="connsiteX7" fmla="*/ 9716 w 78485"/>
                  <a:gd name="connsiteY7" fmla="*/ 0 h 60007"/>
                  <a:gd name="connsiteX8" fmla="*/ 4667 w 78485"/>
                  <a:gd name="connsiteY8" fmla="*/ 5048 h 60007"/>
                  <a:gd name="connsiteX9" fmla="*/ 4667 w 78485"/>
                  <a:gd name="connsiteY9" fmla="*/ 47244 h 60007"/>
                  <a:gd name="connsiteX10" fmla="*/ 0 w 78485"/>
                  <a:gd name="connsiteY10" fmla="*/ 52197 h 60007"/>
                  <a:gd name="connsiteX11" fmla="*/ 0 w 78485"/>
                  <a:gd name="connsiteY11" fmla="*/ 54959 h 60007"/>
                  <a:gd name="connsiteX12" fmla="*/ 5048 w 78485"/>
                  <a:gd name="connsiteY12" fmla="*/ 60008 h 60007"/>
                  <a:gd name="connsiteX13" fmla="*/ 66199 w 78485"/>
                  <a:gd name="connsiteY13" fmla="*/ 7525 h 60007"/>
                  <a:gd name="connsiteX14" fmla="*/ 66199 w 78485"/>
                  <a:gd name="connsiteY14" fmla="*/ 46863 h 60007"/>
                  <a:gd name="connsiteX15" fmla="*/ 12287 w 78485"/>
                  <a:gd name="connsiteY15" fmla="*/ 46863 h 60007"/>
                  <a:gd name="connsiteX16" fmla="*/ 12287 w 78485"/>
                  <a:gd name="connsiteY16" fmla="*/ 7525 h 60007"/>
                  <a:gd name="connsiteX17" fmla="*/ 66199 w 78485"/>
                  <a:gd name="connsiteY17" fmla="*/ 7525 h 60007"/>
                  <a:gd name="connsiteX18" fmla="*/ 7620 w 78485"/>
                  <a:gd name="connsiteY18" fmla="*/ 54674 h 60007"/>
                  <a:gd name="connsiteX19" fmla="*/ 7620 w 78485"/>
                  <a:gd name="connsiteY19" fmla="*/ 52292 h 60007"/>
                  <a:gd name="connsiteX20" fmla="*/ 70961 w 78485"/>
                  <a:gd name="connsiteY20" fmla="*/ 52292 h 60007"/>
                  <a:gd name="connsiteX21" fmla="*/ 70961 w 78485"/>
                  <a:gd name="connsiteY21" fmla="*/ 54674 h 60007"/>
                  <a:gd name="connsiteX22" fmla="*/ 7620 w 78485"/>
                  <a:gd name="connsiteY22" fmla="*/ 54674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485" h="60007">
                    <a:moveTo>
                      <a:pt x="5048" y="60008"/>
                    </a:moveTo>
                    <a:lnTo>
                      <a:pt x="73438" y="60008"/>
                    </a:lnTo>
                    <a:cubicBezTo>
                      <a:pt x="76200" y="60008"/>
                      <a:pt x="78486" y="57722"/>
                      <a:pt x="78486" y="54959"/>
                    </a:cubicBezTo>
                    <a:lnTo>
                      <a:pt x="78486" y="52197"/>
                    </a:lnTo>
                    <a:cubicBezTo>
                      <a:pt x="78486" y="49530"/>
                      <a:pt x="76391" y="47339"/>
                      <a:pt x="73724" y="47244"/>
                    </a:cubicBezTo>
                    <a:lnTo>
                      <a:pt x="73724" y="5048"/>
                    </a:lnTo>
                    <a:cubicBezTo>
                      <a:pt x="73724" y="2286"/>
                      <a:pt x="71438" y="0"/>
                      <a:pt x="68675" y="0"/>
                    </a:cubicBezTo>
                    <a:lnTo>
                      <a:pt x="9716" y="0"/>
                    </a:lnTo>
                    <a:cubicBezTo>
                      <a:pt x="6953" y="0"/>
                      <a:pt x="4667" y="2286"/>
                      <a:pt x="4667" y="5048"/>
                    </a:cubicBezTo>
                    <a:lnTo>
                      <a:pt x="4667" y="47244"/>
                    </a:lnTo>
                    <a:cubicBezTo>
                      <a:pt x="2000" y="47435"/>
                      <a:pt x="0" y="49625"/>
                      <a:pt x="0" y="52197"/>
                    </a:cubicBezTo>
                    <a:lnTo>
                      <a:pt x="0" y="54959"/>
                    </a:lnTo>
                    <a:cubicBezTo>
                      <a:pt x="0" y="57722"/>
                      <a:pt x="2286" y="60008"/>
                      <a:pt x="5048" y="60008"/>
                    </a:cubicBezTo>
                    <a:close/>
                    <a:moveTo>
                      <a:pt x="66199" y="7525"/>
                    </a:moveTo>
                    <a:lnTo>
                      <a:pt x="66199" y="46863"/>
                    </a:lnTo>
                    <a:lnTo>
                      <a:pt x="12287" y="46863"/>
                    </a:lnTo>
                    <a:lnTo>
                      <a:pt x="12287" y="7525"/>
                    </a:lnTo>
                    <a:lnTo>
                      <a:pt x="66199" y="7525"/>
                    </a:lnTo>
                    <a:close/>
                    <a:moveTo>
                      <a:pt x="7620" y="54674"/>
                    </a:moveTo>
                    <a:lnTo>
                      <a:pt x="7620" y="52292"/>
                    </a:lnTo>
                    <a:lnTo>
                      <a:pt x="70961" y="52292"/>
                    </a:lnTo>
                    <a:lnTo>
                      <a:pt x="70961" y="54674"/>
                    </a:lnTo>
                    <a:lnTo>
                      <a:pt x="7620" y="54674"/>
                    </a:lnTo>
                    <a:close/>
                  </a:path>
                </a:pathLst>
              </a:custGeom>
              <a:grp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CA0DFE9-E957-A001-99B8-D28571BE4616}"/>
                  </a:ext>
                </a:extLst>
              </p:cNvPr>
              <p:cNvSpPr/>
              <p:nvPr/>
            </p:nvSpPr>
            <p:spPr>
              <a:xfrm>
                <a:off x="6029083" y="3929722"/>
                <a:ext cx="8000" cy="8001"/>
              </a:xfrm>
              <a:custGeom>
                <a:avLst/>
                <a:gdLst>
                  <a:gd name="connsiteX0" fmla="*/ 8001 w 8000"/>
                  <a:gd name="connsiteY0" fmla="*/ 4000 h 8001"/>
                  <a:gd name="connsiteX1" fmla="*/ 4001 w 8000"/>
                  <a:gd name="connsiteY1" fmla="*/ 8001 h 8001"/>
                  <a:gd name="connsiteX2" fmla="*/ 0 w 8000"/>
                  <a:gd name="connsiteY2" fmla="*/ 4000 h 8001"/>
                  <a:gd name="connsiteX3" fmla="*/ 4001 w 8000"/>
                  <a:gd name="connsiteY3" fmla="*/ 0 h 8001"/>
                  <a:gd name="connsiteX4" fmla="*/ 8001 w 8000"/>
                  <a:gd name="connsiteY4" fmla="*/ 4000 h 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 h="8001">
                    <a:moveTo>
                      <a:pt x="8001" y="4000"/>
                    </a:moveTo>
                    <a:cubicBezTo>
                      <a:pt x="8001" y="6210"/>
                      <a:pt x="6210" y="8001"/>
                      <a:pt x="4001" y="8001"/>
                    </a:cubicBezTo>
                    <a:cubicBezTo>
                      <a:pt x="1791" y="8001"/>
                      <a:pt x="0" y="6210"/>
                      <a:pt x="0" y="4000"/>
                    </a:cubicBezTo>
                    <a:cubicBezTo>
                      <a:pt x="0" y="1791"/>
                      <a:pt x="1791" y="0"/>
                      <a:pt x="4001" y="0"/>
                    </a:cubicBezTo>
                    <a:cubicBezTo>
                      <a:pt x="6210" y="0"/>
                      <a:pt x="8001" y="1791"/>
                      <a:pt x="8001" y="4000"/>
                    </a:cubicBezTo>
                    <a:close/>
                  </a:path>
                </a:pathLst>
              </a:custGeom>
              <a:grp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5357CBF6-253E-F4AB-EF40-E820B51FE92F}"/>
                  </a:ext>
                </a:extLst>
              </p:cNvPr>
              <p:cNvSpPr/>
              <p:nvPr/>
            </p:nvSpPr>
            <p:spPr>
              <a:xfrm>
                <a:off x="6133188" y="3990869"/>
                <a:ext cx="44100" cy="69151"/>
              </a:xfrm>
              <a:custGeom>
                <a:avLst/>
                <a:gdLst>
                  <a:gd name="connsiteX0" fmla="*/ 36100 w 44100"/>
                  <a:gd name="connsiteY0" fmla="*/ 0 h 69151"/>
                  <a:gd name="connsiteX1" fmla="*/ 8001 w 44100"/>
                  <a:gd name="connsiteY1" fmla="*/ 0 h 69151"/>
                  <a:gd name="connsiteX2" fmla="*/ 0 w 44100"/>
                  <a:gd name="connsiteY2" fmla="*/ 8001 h 69151"/>
                  <a:gd name="connsiteX3" fmla="*/ 0 w 44100"/>
                  <a:gd name="connsiteY3" fmla="*/ 61150 h 69151"/>
                  <a:gd name="connsiteX4" fmla="*/ 8001 w 44100"/>
                  <a:gd name="connsiteY4" fmla="*/ 69151 h 69151"/>
                  <a:gd name="connsiteX5" fmla="*/ 36100 w 44100"/>
                  <a:gd name="connsiteY5" fmla="*/ 69151 h 69151"/>
                  <a:gd name="connsiteX6" fmla="*/ 44101 w 44100"/>
                  <a:gd name="connsiteY6" fmla="*/ 61150 h 69151"/>
                  <a:gd name="connsiteX7" fmla="*/ 44101 w 44100"/>
                  <a:gd name="connsiteY7" fmla="*/ 8001 h 69151"/>
                  <a:gd name="connsiteX8" fmla="*/ 36100 w 44100"/>
                  <a:gd name="connsiteY8" fmla="*/ 0 h 69151"/>
                  <a:gd name="connsiteX9" fmla="*/ 36576 w 44100"/>
                  <a:gd name="connsiteY9" fmla="*/ 8001 h 69151"/>
                  <a:gd name="connsiteX10" fmla="*/ 36576 w 44100"/>
                  <a:gd name="connsiteY10" fmla="*/ 61150 h 69151"/>
                  <a:gd name="connsiteX11" fmla="*/ 36195 w 44100"/>
                  <a:gd name="connsiteY11" fmla="*/ 61531 h 69151"/>
                  <a:gd name="connsiteX12" fmla="*/ 8096 w 44100"/>
                  <a:gd name="connsiteY12" fmla="*/ 61531 h 69151"/>
                  <a:gd name="connsiteX13" fmla="*/ 7715 w 44100"/>
                  <a:gd name="connsiteY13" fmla="*/ 61150 h 69151"/>
                  <a:gd name="connsiteX14" fmla="*/ 7715 w 44100"/>
                  <a:gd name="connsiteY14" fmla="*/ 8001 h 69151"/>
                  <a:gd name="connsiteX15" fmla="*/ 8096 w 44100"/>
                  <a:gd name="connsiteY15" fmla="*/ 7620 h 69151"/>
                  <a:gd name="connsiteX16" fmla="*/ 11716 w 44100"/>
                  <a:gd name="connsiteY16" fmla="*/ 7620 h 69151"/>
                  <a:gd name="connsiteX17" fmla="*/ 17621 w 44100"/>
                  <a:gd name="connsiteY17" fmla="*/ 11430 h 69151"/>
                  <a:gd name="connsiteX18" fmla="*/ 26575 w 44100"/>
                  <a:gd name="connsiteY18" fmla="*/ 11430 h 69151"/>
                  <a:gd name="connsiteX19" fmla="*/ 32480 w 44100"/>
                  <a:gd name="connsiteY19" fmla="*/ 7620 h 69151"/>
                  <a:gd name="connsiteX20" fmla="*/ 36100 w 44100"/>
                  <a:gd name="connsiteY20" fmla="*/ 7620 h 69151"/>
                  <a:gd name="connsiteX21" fmla="*/ 36481 w 44100"/>
                  <a:gd name="connsiteY21" fmla="*/ 8001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100" h="69151">
                    <a:moveTo>
                      <a:pt x="36100" y="0"/>
                    </a:moveTo>
                    <a:lnTo>
                      <a:pt x="8001" y="0"/>
                    </a:lnTo>
                    <a:cubicBezTo>
                      <a:pt x="3620" y="0"/>
                      <a:pt x="0" y="3619"/>
                      <a:pt x="0" y="8001"/>
                    </a:cubicBezTo>
                    <a:lnTo>
                      <a:pt x="0" y="61150"/>
                    </a:lnTo>
                    <a:cubicBezTo>
                      <a:pt x="0" y="65532"/>
                      <a:pt x="3620" y="69151"/>
                      <a:pt x="8001" y="69151"/>
                    </a:cubicBezTo>
                    <a:lnTo>
                      <a:pt x="36100" y="69151"/>
                    </a:lnTo>
                    <a:cubicBezTo>
                      <a:pt x="40481" y="69151"/>
                      <a:pt x="44101" y="65532"/>
                      <a:pt x="44101" y="61150"/>
                    </a:cubicBezTo>
                    <a:lnTo>
                      <a:pt x="44101" y="8001"/>
                    </a:lnTo>
                    <a:cubicBezTo>
                      <a:pt x="44101" y="3619"/>
                      <a:pt x="40481" y="0"/>
                      <a:pt x="36100" y="0"/>
                    </a:cubicBezTo>
                    <a:close/>
                    <a:moveTo>
                      <a:pt x="36576" y="8001"/>
                    </a:moveTo>
                    <a:lnTo>
                      <a:pt x="36576" y="61150"/>
                    </a:lnTo>
                    <a:cubicBezTo>
                      <a:pt x="36576" y="61150"/>
                      <a:pt x="36385" y="61531"/>
                      <a:pt x="36195" y="61531"/>
                    </a:cubicBezTo>
                    <a:lnTo>
                      <a:pt x="8096" y="61531"/>
                    </a:lnTo>
                    <a:cubicBezTo>
                      <a:pt x="8096" y="61531"/>
                      <a:pt x="7715" y="61341"/>
                      <a:pt x="7715" y="61150"/>
                    </a:cubicBezTo>
                    <a:lnTo>
                      <a:pt x="7715" y="8001"/>
                    </a:lnTo>
                    <a:cubicBezTo>
                      <a:pt x="7715" y="8001"/>
                      <a:pt x="7906" y="7620"/>
                      <a:pt x="8096" y="7620"/>
                    </a:cubicBezTo>
                    <a:lnTo>
                      <a:pt x="11716" y="7620"/>
                    </a:lnTo>
                    <a:cubicBezTo>
                      <a:pt x="12764" y="9906"/>
                      <a:pt x="15049" y="11430"/>
                      <a:pt x="17621" y="11430"/>
                    </a:cubicBezTo>
                    <a:lnTo>
                      <a:pt x="26575" y="11430"/>
                    </a:lnTo>
                    <a:cubicBezTo>
                      <a:pt x="29146" y="11430"/>
                      <a:pt x="31433" y="9906"/>
                      <a:pt x="32480" y="7620"/>
                    </a:cubicBezTo>
                    <a:lnTo>
                      <a:pt x="36100" y="7620"/>
                    </a:lnTo>
                    <a:cubicBezTo>
                      <a:pt x="36100" y="7620"/>
                      <a:pt x="36481" y="7810"/>
                      <a:pt x="36481" y="8001"/>
                    </a:cubicBezTo>
                    <a:close/>
                  </a:path>
                </a:pathLst>
              </a:custGeom>
              <a:grp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8A9C0CB7-5F9B-6429-F510-9A2AFAE1AA90}"/>
                  </a:ext>
                </a:extLst>
              </p:cNvPr>
              <p:cNvSpPr/>
              <p:nvPr/>
            </p:nvSpPr>
            <p:spPr>
              <a:xfrm>
                <a:off x="6133171" y="3934673"/>
                <a:ext cx="18192" cy="38004"/>
              </a:xfrm>
              <a:custGeom>
                <a:avLst/>
                <a:gdLst>
                  <a:gd name="connsiteX0" fmla="*/ 18193 w 18192"/>
                  <a:gd name="connsiteY0" fmla="*/ 25241 h 38004"/>
                  <a:gd name="connsiteX1" fmla="*/ 18193 w 18192"/>
                  <a:gd name="connsiteY1" fmla="*/ 24479 h 38004"/>
                  <a:gd name="connsiteX2" fmla="*/ 18193 w 18192"/>
                  <a:gd name="connsiteY2" fmla="*/ 0 h 38004"/>
                  <a:gd name="connsiteX3" fmla="*/ 10668 w 18192"/>
                  <a:gd name="connsiteY3" fmla="*/ 0 h 38004"/>
                  <a:gd name="connsiteX4" fmla="*/ 10668 w 18192"/>
                  <a:gd name="connsiteY4" fmla="*/ 23622 h 38004"/>
                  <a:gd name="connsiteX5" fmla="*/ 2191 w 18192"/>
                  <a:gd name="connsiteY5" fmla="*/ 30194 h 38004"/>
                  <a:gd name="connsiteX6" fmla="*/ 0 w 18192"/>
                  <a:gd name="connsiteY6" fmla="*/ 29623 h 38004"/>
                  <a:gd name="connsiteX7" fmla="*/ 0 w 18192"/>
                  <a:gd name="connsiteY7" fmla="*/ 37529 h 38004"/>
                  <a:gd name="connsiteX8" fmla="*/ 1524 w 18192"/>
                  <a:gd name="connsiteY8" fmla="*/ 37814 h 38004"/>
                  <a:gd name="connsiteX9" fmla="*/ 3905 w 18192"/>
                  <a:gd name="connsiteY9" fmla="*/ 38005 h 38004"/>
                  <a:gd name="connsiteX10" fmla="*/ 18193 w 18192"/>
                  <a:gd name="connsiteY10" fmla="*/ 25241 h 38004"/>
                  <a:gd name="connsiteX11" fmla="*/ 16478 w 18192"/>
                  <a:gd name="connsiteY11" fmla="*/ 24956 h 38004"/>
                  <a:gd name="connsiteX12" fmla="*/ 16478 w 18192"/>
                  <a:gd name="connsiteY12" fmla="*/ 24956 h 38004"/>
                  <a:gd name="connsiteX13" fmla="*/ 16478 w 18192"/>
                  <a:gd name="connsiteY13" fmla="*/ 24956 h 3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92" h="38004">
                    <a:moveTo>
                      <a:pt x="18193" y="25241"/>
                    </a:moveTo>
                    <a:cubicBezTo>
                      <a:pt x="18193" y="25241"/>
                      <a:pt x="18193" y="24670"/>
                      <a:pt x="18193" y="24479"/>
                    </a:cubicBezTo>
                    <a:lnTo>
                      <a:pt x="18193" y="0"/>
                    </a:lnTo>
                    <a:lnTo>
                      <a:pt x="10668" y="0"/>
                    </a:lnTo>
                    <a:lnTo>
                      <a:pt x="10668" y="23622"/>
                    </a:lnTo>
                    <a:cubicBezTo>
                      <a:pt x="10668" y="27908"/>
                      <a:pt x="6668" y="31337"/>
                      <a:pt x="2191" y="30194"/>
                    </a:cubicBezTo>
                    <a:lnTo>
                      <a:pt x="0" y="29623"/>
                    </a:lnTo>
                    <a:lnTo>
                      <a:pt x="0" y="37529"/>
                    </a:lnTo>
                    <a:lnTo>
                      <a:pt x="1524" y="37814"/>
                    </a:lnTo>
                    <a:cubicBezTo>
                      <a:pt x="2286" y="37910"/>
                      <a:pt x="3143" y="38005"/>
                      <a:pt x="3905" y="38005"/>
                    </a:cubicBezTo>
                    <a:cubicBezTo>
                      <a:pt x="11240" y="38005"/>
                      <a:pt x="17335" y="32576"/>
                      <a:pt x="18193" y="25241"/>
                    </a:cubicBezTo>
                    <a:close/>
                    <a:moveTo>
                      <a:pt x="16478" y="24956"/>
                    </a:moveTo>
                    <a:lnTo>
                      <a:pt x="16478" y="24956"/>
                    </a:lnTo>
                    <a:lnTo>
                      <a:pt x="16478" y="24956"/>
                    </a:lnTo>
                    <a:close/>
                  </a:path>
                </a:pathLst>
              </a:custGeom>
              <a:grp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AEFDADF-871F-C5F7-B0C7-2AB924FA56EE}"/>
                  </a:ext>
                </a:extLst>
              </p:cNvPr>
              <p:cNvSpPr/>
              <p:nvPr/>
            </p:nvSpPr>
            <p:spPr>
              <a:xfrm>
                <a:off x="6062781" y="3914660"/>
                <a:ext cx="38004" cy="18192"/>
              </a:xfrm>
              <a:custGeom>
                <a:avLst/>
                <a:gdLst>
                  <a:gd name="connsiteX0" fmla="*/ 30480 w 38004"/>
                  <a:gd name="connsiteY0" fmla="*/ 14383 h 18192"/>
                  <a:gd name="connsiteX1" fmla="*/ 30289 w 38004"/>
                  <a:gd name="connsiteY1" fmla="*/ 16002 h 18192"/>
                  <a:gd name="connsiteX2" fmla="*/ 29718 w 38004"/>
                  <a:gd name="connsiteY2" fmla="*/ 18193 h 18192"/>
                  <a:gd name="connsiteX3" fmla="*/ 37528 w 38004"/>
                  <a:gd name="connsiteY3" fmla="*/ 18193 h 18192"/>
                  <a:gd name="connsiteX4" fmla="*/ 37814 w 38004"/>
                  <a:gd name="connsiteY4" fmla="*/ 16669 h 18192"/>
                  <a:gd name="connsiteX5" fmla="*/ 38005 w 38004"/>
                  <a:gd name="connsiteY5" fmla="*/ 14288 h 18192"/>
                  <a:gd name="connsiteX6" fmla="*/ 25336 w 38004"/>
                  <a:gd name="connsiteY6" fmla="*/ 95 h 18192"/>
                  <a:gd name="connsiteX7" fmla="*/ 24479 w 38004"/>
                  <a:gd name="connsiteY7" fmla="*/ 0 h 18192"/>
                  <a:gd name="connsiteX8" fmla="*/ 0 w 38004"/>
                  <a:gd name="connsiteY8" fmla="*/ 0 h 18192"/>
                  <a:gd name="connsiteX9" fmla="*/ 0 w 38004"/>
                  <a:gd name="connsiteY9" fmla="*/ 7525 h 18192"/>
                  <a:gd name="connsiteX10" fmla="*/ 23622 w 38004"/>
                  <a:gd name="connsiteY10" fmla="*/ 7525 h 18192"/>
                  <a:gd name="connsiteX11" fmla="*/ 30385 w 38004"/>
                  <a:gd name="connsiteY11" fmla="*/ 14288 h 1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004" h="18192">
                    <a:moveTo>
                      <a:pt x="30480" y="14383"/>
                    </a:moveTo>
                    <a:cubicBezTo>
                      <a:pt x="30480" y="14954"/>
                      <a:pt x="30480" y="15431"/>
                      <a:pt x="30289" y="16002"/>
                    </a:cubicBezTo>
                    <a:lnTo>
                      <a:pt x="29718" y="18193"/>
                    </a:lnTo>
                    <a:lnTo>
                      <a:pt x="37528" y="18193"/>
                    </a:lnTo>
                    <a:lnTo>
                      <a:pt x="37814" y="16669"/>
                    </a:lnTo>
                    <a:cubicBezTo>
                      <a:pt x="37909" y="15907"/>
                      <a:pt x="38005" y="15050"/>
                      <a:pt x="38005" y="14288"/>
                    </a:cubicBezTo>
                    <a:cubicBezTo>
                      <a:pt x="38005" y="6953"/>
                      <a:pt x="32480" y="762"/>
                      <a:pt x="25336" y="95"/>
                    </a:cubicBezTo>
                    <a:cubicBezTo>
                      <a:pt x="25146" y="95"/>
                      <a:pt x="24765" y="0"/>
                      <a:pt x="24479" y="0"/>
                    </a:cubicBezTo>
                    <a:lnTo>
                      <a:pt x="0" y="0"/>
                    </a:lnTo>
                    <a:lnTo>
                      <a:pt x="0" y="7525"/>
                    </a:lnTo>
                    <a:lnTo>
                      <a:pt x="23622" y="7525"/>
                    </a:lnTo>
                    <a:cubicBezTo>
                      <a:pt x="27337" y="7525"/>
                      <a:pt x="30385" y="10573"/>
                      <a:pt x="30385" y="14288"/>
                    </a:cubicBezTo>
                    <a:close/>
                  </a:path>
                </a:pathLst>
              </a:custGeom>
              <a:grp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CB2453CD-7AE5-D2C1-B34F-3A2E35690474}"/>
                  </a:ext>
                </a:extLst>
              </p:cNvPr>
              <p:cNvSpPr/>
              <p:nvPr/>
            </p:nvSpPr>
            <p:spPr>
              <a:xfrm>
                <a:off x="6092683" y="4005742"/>
                <a:ext cx="38004" cy="18097"/>
              </a:xfrm>
              <a:custGeom>
                <a:avLst/>
                <a:gdLst>
                  <a:gd name="connsiteX0" fmla="*/ 7620 w 38004"/>
                  <a:gd name="connsiteY0" fmla="*/ 3905 h 18097"/>
                  <a:gd name="connsiteX1" fmla="*/ 7811 w 38004"/>
                  <a:gd name="connsiteY1" fmla="*/ 2286 h 18097"/>
                  <a:gd name="connsiteX2" fmla="*/ 8382 w 38004"/>
                  <a:gd name="connsiteY2" fmla="*/ 0 h 18097"/>
                  <a:gd name="connsiteX3" fmla="*/ 476 w 38004"/>
                  <a:gd name="connsiteY3" fmla="*/ 0 h 18097"/>
                  <a:gd name="connsiteX4" fmla="*/ 191 w 38004"/>
                  <a:gd name="connsiteY4" fmla="*/ 1429 h 18097"/>
                  <a:gd name="connsiteX5" fmla="*/ 0 w 38004"/>
                  <a:gd name="connsiteY5" fmla="*/ 3810 h 18097"/>
                  <a:gd name="connsiteX6" fmla="*/ 12573 w 38004"/>
                  <a:gd name="connsiteY6" fmla="*/ 18002 h 18097"/>
                  <a:gd name="connsiteX7" fmla="*/ 13526 w 38004"/>
                  <a:gd name="connsiteY7" fmla="*/ 18097 h 18097"/>
                  <a:gd name="connsiteX8" fmla="*/ 38005 w 38004"/>
                  <a:gd name="connsiteY8" fmla="*/ 18097 h 18097"/>
                  <a:gd name="connsiteX9" fmla="*/ 38005 w 38004"/>
                  <a:gd name="connsiteY9" fmla="*/ 10573 h 18097"/>
                  <a:gd name="connsiteX10" fmla="*/ 14383 w 38004"/>
                  <a:gd name="connsiteY10" fmla="*/ 10573 h 18097"/>
                  <a:gd name="connsiteX11" fmla="*/ 7620 w 38004"/>
                  <a:gd name="connsiteY11" fmla="*/ 3810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004" h="18097">
                    <a:moveTo>
                      <a:pt x="7620" y="3905"/>
                    </a:moveTo>
                    <a:cubicBezTo>
                      <a:pt x="7620" y="3334"/>
                      <a:pt x="7620" y="2762"/>
                      <a:pt x="7811" y="2286"/>
                    </a:cubicBezTo>
                    <a:lnTo>
                      <a:pt x="8382" y="0"/>
                    </a:lnTo>
                    <a:lnTo>
                      <a:pt x="476" y="0"/>
                    </a:lnTo>
                    <a:lnTo>
                      <a:pt x="191" y="1429"/>
                    </a:lnTo>
                    <a:cubicBezTo>
                      <a:pt x="95" y="2191"/>
                      <a:pt x="0" y="3048"/>
                      <a:pt x="0" y="3810"/>
                    </a:cubicBezTo>
                    <a:cubicBezTo>
                      <a:pt x="0" y="11144"/>
                      <a:pt x="5524" y="17335"/>
                      <a:pt x="12573" y="18002"/>
                    </a:cubicBezTo>
                    <a:cubicBezTo>
                      <a:pt x="12859" y="18002"/>
                      <a:pt x="13240" y="18097"/>
                      <a:pt x="13526" y="18097"/>
                    </a:cubicBezTo>
                    <a:lnTo>
                      <a:pt x="38005" y="18097"/>
                    </a:lnTo>
                    <a:lnTo>
                      <a:pt x="38005" y="10573"/>
                    </a:lnTo>
                    <a:lnTo>
                      <a:pt x="14383" y="10573"/>
                    </a:lnTo>
                    <a:cubicBezTo>
                      <a:pt x="10668" y="10573"/>
                      <a:pt x="7620" y="7525"/>
                      <a:pt x="7620" y="3810"/>
                    </a:cubicBez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7A4044B-08AD-75A8-CB6D-77D5E18084FC}"/>
                  </a:ext>
                </a:extLst>
              </p:cNvPr>
              <p:cNvSpPr/>
              <p:nvPr/>
            </p:nvSpPr>
            <p:spPr>
              <a:xfrm>
                <a:off x="6040945" y="3965162"/>
                <a:ext cx="18192" cy="38004"/>
              </a:xfrm>
              <a:custGeom>
                <a:avLst/>
                <a:gdLst>
                  <a:gd name="connsiteX0" fmla="*/ 14288 w 18192"/>
                  <a:gd name="connsiteY0" fmla="*/ 0 h 38004"/>
                  <a:gd name="connsiteX1" fmla="*/ 0 w 18192"/>
                  <a:gd name="connsiteY1" fmla="*/ 12764 h 38004"/>
                  <a:gd name="connsiteX2" fmla="*/ 0 w 18192"/>
                  <a:gd name="connsiteY2" fmla="*/ 13526 h 38004"/>
                  <a:gd name="connsiteX3" fmla="*/ 0 w 18192"/>
                  <a:gd name="connsiteY3" fmla="*/ 38005 h 38004"/>
                  <a:gd name="connsiteX4" fmla="*/ 7525 w 18192"/>
                  <a:gd name="connsiteY4" fmla="*/ 38005 h 38004"/>
                  <a:gd name="connsiteX5" fmla="*/ 7525 w 18192"/>
                  <a:gd name="connsiteY5" fmla="*/ 14383 h 38004"/>
                  <a:gd name="connsiteX6" fmla="*/ 16002 w 18192"/>
                  <a:gd name="connsiteY6" fmla="*/ 7810 h 38004"/>
                  <a:gd name="connsiteX7" fmla="*/ 18193 w 18192"/>
                  <a:gd name="connsiteY7" fmla="*/ 8382 h 38004"/>
                  <a:gd name="connsiteX8" fmla="*/ 18193 w 18192"/>
                  <a:gd name="connsiteY8" fmla="*/ 476 h 38004"/>
                  <a:gd name="connsiteX9" fmla="*/ 16669 w 18192"/>
                  <a:gd name="connsiteY9" fmla="*/ 190 h 38004"/>
                  <a:gd name="connsiteX10" fmla="*/ 14288 w 18192"/>
                  <a:gd name="connsiteY10" fmla="*/ 0 h 38004"/>
                  <a:gd name="connsiteX11" fmla="*/ 1810 w 18192"/>
                  <a:gd name="connsiteY11" fmla="*/ 13049 h 38004"/>
                  <a:gd name="connsiteX12" fmla="*/ 1810 w 18192"/>
                  <a:gd name="connsiteY12" fmla="*/ 13049 h 38004"/>
                  <a:gd name="connsiteX13" fmla="*/ 1810 w 18192"/>
                  <a:gd name="connsiteY13" fmla="*/ 13049 h 3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92" h="38004">
                    <a:moveTo>
                      <a:pt x="14288" y="0"/>
                    </a:moveTo>
                    <a:cubicBezTo>
                      <a:pt x="6953" y="0"/>
                      <a:pt x="857" y="5429"/>
                      <a:pt x="0" y="12764"/>
                    </a:cubicBezTo>
                    <a:cubicBezTo>
                      <a:pt x="0" y="12954"/>
                      <a:pt x="0" y="13240"/>
                      <a:pt x="0" y="13526"/>
                    </a:cubicBezTo>
                    <a:lnTo>
                      <a:pt x="0" y="38005"/>
                    </a:lnTo>
                    <a:lnTo>
                      <a:pt x="7525" y="38005"/>
                    </a:lnTo>
                    <a:lnTo>
                      <a:pt x="7525" y="14383"/>
                    </a:lnTo>
                    <a:cubicBezTo>
                      <a:pt x="7525" y="10097"/>
                      <a:pt x="11335" y="6572"/>
                      <a:pt x="16002" y="7810"/>
                    </a:cubicBezTo>
                    <a:lnTo>
                      <a:pt x="18193" y="8382"/>
                    </a:lnTo>
                    <a:lnTo>
                      <a:pt x="18193" y="476"/>
                    </a:lnTo>
                    <a:lnTo>
                      <a:pt x="16669" y="190"/>
                    </a:lnTo>
                    <a:cubicBezTo>
                      <a:pt x="15907" y="95"/>
                      <a:pt x="15049" y="0"/>
                      <a:pt x="14288" y="0"/>
                    </a:cubicBezTo>
                    <a:close/>
                    <a:moveTo>
                      <a:pt x="1810" y="13049"/>
                    </a:moveTo>
                    <a:lnTo>
                      <a:pt x="1810" y="13049"/>
                    </a:lnTo>
                    <a:lnTo>
                      <a:pt x="1810" y="13049"/>
                    </a:lnTo>
                    <a:close/>
                  </a:path>
                </a:pathLst>
              </a:custGeom>
              <a:grpFill/>
              <a:ln w="9525" cap="flat">
                <a:noFill/>
                <a:prstDash val="solid"/>
                <a:miter/>
              </a:ln>
            </p:spPr>
            <p:txBody>
              <a:bodyPr rtlCol="0" anchor="ctr"/>
              <a:lstStyle/>
              <a:p>
                <a:endParaRPr lang="en-US"/>
              </a:p>
            </p:txBody>
          </p:sp>
        </p:grpSp>
      </p:grpSp>
      <p:grpSp>
        <p:nvGrpSpPr>
          <p:cNvPr id="25" name="Group 24">
            <a:extLst>
              <a:ext uri="{FF2B5EF4-FFF2-40B4-BE49-F238E27FC236}">
                <a16:creationId xmlns:a16="http://schemas.microsoft.com/office/drawing/2014/main" id="{EE2B8DFF-3529-C00C-A5D2-754899611E69}"/>
              </a:ext>
            </a:extLst>
          </p:cNvPr>
          <p:cNvGrpSpPr>
            <a:grpSpLocks noChangeAspect="1"/>
          </p:cNvGrpSpPr>
          <p:nvPr/>
        </p:nvGrpSpPr>
        <p:grpSpPr>
          <a:xfrm>
            <a:off x="8592327" y="1620737"/>
            <a:ext cx="1028562" cy="1028562"/>
            <a:chOff x="8966686" y="6001214"/>
            <a:chExt cx="365760" cy="365760"/>
          </a:xfrm>
          <a:effectLst>
            <a:outerShdw blurRad="50800" dist="38100" dir="8100000" algn="tr" rotWithShape="0">
              <a:prstClr val="black">
                <a:alpha val="40000"/>
              </a:prstClr>
            </a:outerShdw>
          </a:effectLst>
        </p:grpSpPr>
        <p:sp>
          <p:nvSpPr>
            <p:cNvPr id="26" name="Oval 25">
              <a:extLst>
                <a:ext uri="{FF2B5EF4-FFF2-40B4-BE49-F238E27FC236}">
                  <a16:creationId xmlns:a16="http://schemas.microsoft.com/office/drawing/2014/main" id="{26CA57EA-2A50-8FD0-2D13-517122F68A72}"/>
                </a:ext>
              </a:extLst>
            </p:cNvPr>
            <p:cNvSpPr/>
            <p:nvPr/>
          </p:nvSpPr>
          <p:spPr>
            <a:xfrm>
              <a:off x="8966686" y="6001214"/>
              <a:ext cx="365760" cy="36576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EF8D5C62-AA1B-B70B-7BA6-C78348209181}"/>
                </a:ext>
              </a:extLst>
            </p:cNvPr>
            <p:cNvGrpSpPr/>
            <p:nvPr/>
          </p:nvGrpSpPr>
          <p:grpSpPr>
            <a:xfrm>
              <a:off x="9029440" y="6097612"/>
              <a:ext cx="242939" cy="200456"/>
              <a:chOff x="9029440" y="6097612"/>
              <a:chExt cx="242939" cy="200456"/>
            </a:xfrm>
            <a:solidFill>
              <a:schemeClr val="bg1"/>
            </a:solidFill>
          </p:grpSpPr>
          <p:sp>
            <p:nvSpPr>
              <p:cNvPr id="28" name="Graphic 4">
                <a:extLst>
                  <a:ext uri="{FF2B5EF4-FFF2-40B4-BE49-F238E27FC236}">
                    <a16:creationId xmlns:a16="http://schemas.microsoft.com/office/drawing/2014/main" id="{9293AA95-B3C2-97C7-9AD5-D10EB4693FCA}"/>
                  </a:ext>
                </a:extLst>
              </p:cNvPr>
              <p:cNvSpPr/>
              <p:nvPr/>
            </p:nvSpPr>
            <p:spPr>
              <a:xfrm>
                <a:off x="9035953" y="6097612"/>
                <a:ext cx="68372" cy="68308"/>
              </a:xfrm>
              <a:custGeom>
                <a:avLst/>
                <a:gdLst>
                  <a:gd name="connsiteX0" fmla="*/ 34506 w 68372"/>
                  <a:gd name="connsiteY0" fmla="*/ 68309 h 68308"/>
                  <a:gd name="connsiteX1" fmla="*/ 68373 w 68372"/>
                  <a:gd name="connsiteY1" fmla="*/ 34474 h 68308"/>
                  <a:gd name="connsiteX2" fmla="*/ 34506 w 68372"/>
                  <a:gd name="connsiteY2" fmla="*/ 0 h 68308"/>
                  <a:gd name="connsiteX3" fmla="*/ 0 w 68372"/>
                  <a:gd name="connsiteY3" fmla="*/ 33835 h 68308"/>
                  <a:gd name="connsiteX4" fmla="*/ 0 w 68372"/>
                  <a:gd name="connsiteY4" fmla="*/ 33835 h 68308"/>
                  <a:gd name="connsiteX5" fmla="*/ 34506 w 68372"/>
                  <a:gd name="connsiteY5" fmla="*/ 68309 h 68308"/>
                  <a:gd name="connsiteX6" fmla="*/ 34506 w 68372"/>
                  <a:gd name="connsiteY6" fmla="*/ 13406 h 68308"/>
                  <a:gd name="connsiteX7" fmla="*/ 55593 w 68372"/>
                  <a:gd name="connsiteY7" fmla="*/ 34474 h 68308"/>
                  <a:gd name="connsiteX8" fmla="*/ 34506 w 68372"/>
                  <a:gd name="connsiteY8" fmla="*/ 56179 h 68308"/>
                  <a:gd name="connsiteX9" fmla="*/ 12780 w 68372"/>
                  <a:gd name="connsiteY9" fmla="*/ 35112 h 68308"/>
                  <a:gd name="connsiteX10" fmla="*/ 12780 w 68372"/>
                  <a:gd name="connsiteY10" fmla="*/ 35112 h 68308"/>
                  <a:gd name="connsiteX11" fmla="*/ 34506 w 68372"/>
                  <a:gd name="connsiteY11" fmla="*/ 13406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372" h="68308">
                    <a:moveTo>
                      <a:pt x="34506" y="68309"/>
                    </a:moveTo>
                    <a:cubicBezTo>
                      <a:pt x="53037" y="68309"/>
                      <a:pt x="68373" y="52987"/>
                      <a:pt x="68373" y="34474"/>
                    </a:cubicBezTo>
                    <a:cubicBezTo>
                      <a:pt x="68373" y="15960"/>
                      <a:pt x="53037" y="638"/>
                      <a:pt x="34506" y="0"/>
                    </a:cubicBezTo>
                    <a:cubicBezTo>
                      <a:pt x="15975" y="0"/>
                      <a:pt x="640" y="15322"/>
                      <a:pt x="0" y="33835"/>
                    </a:cubicBezTo>
                    <a:cubicBezTo>
                      <a:pt x="0" y="33835"/>
                      <a:pt x="0" y="33835"/>
                      <a:pt x="0" y="33835"/>
                    </a:cubicBezTo>
                    <a:cubicBezTo>
                      <a:pt x="0" y="53626"/>
                      <a:pt x="15336" y="68309"/>
                      <a:pt x="34506" y="68309"/>
                    </a:cubicBezTo>
                    <a:close/>
                    <a:moveTo>
                      <a:pt x="34506" y="13406"/>
                    </a:moveTo>
                    <a:cubicBezTo>
                      <a:pt x="46008" y="13406"/>
                      <a:pt x="55593" y="22982"/>
                      <a:pt x="55593" y="34474"/>
                    </a:cubicBezTo>
                    <a:cubicBezTo>
                      <a:pt x="55593" y="45965"/>
                      <a:pt x="46008" y="55541"/>
                      <a:pt x="34506" y="56179"/>
                    </a:cubicBezTo>
                    <a:cubicBezTo>
                      <a:pt x="23004" y="56179"/>
                      <a:pt x="13419" y="46603"/>
                      <a:pt x="12780" y="35112"/>
                    </a:cubicBezTo>
                    <a:cubicBezTo>
                      <a:pt x="12780" y="35112"/>
                      <a:pt x="12780" y="35112"/>
                      <a:pt x="12780" y="35112"/>
                    </a:cubicBezTo>
                    <a:cubicBezTo>
                      <a:pt x="12780" y="22982"/>
                      <a:pt x="22365" y="13406"/>
                      <a:pt x="34506" y="13406"/>
                    </a:cubicBezTo>
                    <a:close/>
                  </a:path>
                </a:pathLst>
              </a:custGeom>
              <a:grpFill/>
              <a:ln w="6390"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C6F3218B-4B38-4972-E227-B74B6DB9E66F}"/>
                  </a:ext>
                </a:extLst>
              </p:cNvPr>
              <p:cNvSpPr/>
              <p:nvPr/>
            </p:nvSpPr>
            <p:spPr>
              <a:xfrm>
                <a:off x="9029440" y="6168474"/>
                <a:ext cx="143596" cy="129594"/>
              </a:xfrm>
              <a:custGeom>
                <a:avLst/>
                <a:gdLst>
                  <a:gd name="connsiteX0" fmla="*/ 128561 w 143596"/>
                  <a:gd name="connsiteY0" fmla="*/ 75331 h 129594"/>
                  <a:gd name="connsiteX1" fmla="*/ 100445 w 143596"/>
                  <a:gd name="connsiteY1" fmla="*/ 71500 h 129594"/>
                  <a:gd name="connsiteX2" fmla="*/ 99166 w 143596"/>
                  <a:gd name="connsiteY2" fmla="*/ 43411 h 129594"/>
                  <a:gd name="connsiteX3" fmla="*/ 56993 w 143596"/>
                  <a:gd name="connsiteY3" fmla="*/ 1915 h 129594"/>
                  <a:gd name="connsiteX4" fmla="*/ 12263 w 143596"/>
                  <a:gd name="connsiteY4" fmla="*/ 1915 h 129594"/>
                  <a:gd name="connsiteX5" fmla="*/ 4596 w 143596"/>
                  <a:gd name="connsiteY5" fmla="*/ 4469 h 129594"/>
                  <a:gd name="connsiteX6" fmla="*/ 122 w 143596"/>
                  <a:gd name="connsiteY6" fmla="*/ 12768 h 129594"/>
                  <a:gd name="connsiteX7" fmla="*/ 8430 w 143596"/>
                  <a:gd name="connsiteY7" fmla="*/ 17237 h 129594"/>
                  <a:gd name="connsiteX8" fmla="*/ 9068 w 143596"/>
                  <a:gd name="connsiteY8" fmla="*/ 17237 h 129594"/>
                  <a:gd name="connsiteX9" fmla="*/ 14820 w 143596"/>
                  <a:gd name="connsiteY9" fmla="*/ 15322 h 129594"/>
                  <a:gd name="connsiteX10" fmla="*/ 55076 w 143596"/>
                  <a:gd name="connsiteY10" fmla="*/ 15322 h 129594"/>
                  <a:gd name="connsiteX11" fmla="*/ 86387 w 143596"/>
                  <a:gd name="connsiteY11" fmla="*/ 44049 h 129594"/>
                  <a:gd name="connsiteX12" fmla="*/ 87665 w 143596"/>
                  <a:gd name="connsiteY12" fmla="*/ 77246 h 129594"/>
                  <a:gd name="connsiteX13" fmla="*/ 93416 w 143596"/>
                  <a:gd name="connsiteY13" fmla="*/ 83630 h 129594"/>
                  <a:gd name="connsiteX14" fmla="*/ 126643 w 143596"/>
                  <a:gd name="connsiteY14" fmla="*/ 88099 h 129594"/>
                  <a:gd name="connsiteX15" fmla="*/ 131116 w 143596"/>
                  <a:gd name="connsiteY15" fmla="*/ 94483 h 129594"/>
                  <a:gd name="connsiteX16" fmla="*/ 131116 w 143596"/>
                  <a:gd name="connsiteY16" fmla="*/ 94483 h 129594"/>
                  <a:gd name="connsiteX17" fmla="*/ 126005 w 143596"/>
                  <a:gd name="connsiteY17" fmla="*/ 97675 h 129594"/>
                  <a:gd name="connsiteX18" fmla="*/ 80636 w 143596"/>
                  <a:gd name="connsiteY18" fmla="*/ 91291 h 129594"/>
                  <a:gd name="connsiteX19" fmla="*/ 71690 w 143596"/>
                  <a:gd name="connsiteY19" fmla="*/ 81076 h 129594"/>
                  <a:gd name="connsiteX20" fmla="*/ 70412 w 143596"/>
                  <a:gd name="connsiteY20" fmla="*/ 42134 h 129594"/>
                  <a:gd name="connsiteX21" fmla="*/ 64022 w 143596"/>
                  <a:gd name="connsiteY21" fmla="*/ 35750 h 129594"/>
                  <a:gd name="connsiteX22" fmla="*/ 57632 w 143596"/>
                  <a:gd name="connsiteY22" fmla="*/ 42134 h 129594"/>
                  <a:gd name="connsiteX23" fmla="*/ 58910 w 143596"/>
                  <a:gd name="connsiteY23" fmla="*/ 81076 h 129594"/>
                  <a:gd name="connsiteX24" fmla="*/ 62744 w 143596"/>
                  <a:gd name="connsiteY24" fmla="*/ 93206 h 129594"/>
                  <a:gd name="connsiteX25" fmla="*/ 62744 w 143596"/>
                  <a:gd name="connsiteY25" fmla="*/ 123211 h 129594"/>
                  <a:gd name="connsiteX26" fmla="*/ 69134 w 143596"/>
                  <a:gd name="connsiteY26" fmla="*/ 129595 h 129594"/>
                  <a:gd name="connsiteX27" fmla="*/ 75524 w 143596"/>
                  <a:gd name="connsiteY27" fmla="*/ 123211 h 129594"/>
                  <a:gd name="connsiteX28" fmla="*/ 75524 w 143596"/>
                  <a:gd name="connsiteY28" fmla="*/ 102782 h 129594"/>
                  <a:gd name="connsiteX29" fmla="*/ 78719 w 143596"/>
                  <a:gd name="connsiteY29" fmla="*/ 103420 h 129594"/>
                  <a:gd name="connsiteX30" fmla="*/ 124087 w 143596"/>
                  <a:gd name="connsiteY30" fmla="*/ 109804 h 129594"/>
                  <a:gd name="connsiteX31" fmla="*/ 126005 w 143596"/>
                  <a:gd name="connsiteY31" fmla="*/ 109804 h 129594"/>
                  <a:gd name="connsiteX32" fmla="*/ 143257 w 143596"/>
                  <a:gd name="connsiteY32" fmla="*/ 96398 h 129594"/>
                  <a:gd name="connsiteX33" fmla="*/ 143257 w 143596"/>
                  <a:gd name="connsiteY33" fmla="*/ 95760 h 129594"/>
                  <a:gd name="connsiteX34" fmla="*/ 128561 w 143596"/>
                  <a:gd name="connsiteY34" fmla="*/ 75331 h 129594"/>
                  <a:gd name="connsiteX35" fmla="*/ 128561 w 143596"/>
                  <a:gd name="connsiteY35" fmla="*/ 75331 h 12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3596" h="129594">
                    <a:moveTo>
                      <a:pt x="128561" y="75331"/>
                    </a:moveTo>
                    <a:lnTo>
                      <a:pt x="100445" y="71500"/>
                    </a:lnTo>
                    <a:lnTo>
                      <a:pt x="99166" y="43411"/>
                    </a:lnTo>
                    <a:cubicBezTo>
                      <a:pt x="97889" y="19152"/>
                      <a:pt x="77441" y="5107"/>
                      <a:pt x="56993" y="1915"/>
                    </a:cubicBezTo>
                    <a:cubicBezTo>
                      <a:pt x="42297" y="-638"/>
                      <a:pt x="26961" y="-638"/>
                      <a:pt x="12263" y="1915"/>
                    </a:cubicBezTo>
                    <a:cubicBezTo>
                      <a:pt x="9707" y="2554"/>
                      <a:pt x="7152" y="3192"/>
                      <a:pt x="4596" y="4469"/>
                    </a:cubicBezTo>
                    <a:cubicBezTo>
                      <a:pt x="1401" y="5746"/>
                      <a:pt x="-516" y="8938"/>
                      <a:pt x="122" y="12768"/>
                    </a:cubicBezTo>
                    <a:cubicBezTo>
                      <a:pt x="1401" y="15960"/>
                      <a:pt x="4596" y="17875"/>
                      <a:pt x="8430" y="17237"/>
                    </a:cubicBezTo>
                    <a:cubicBezTo>
                      <a:pt x="8430" y="17237"/>
                      <a:pt x="9068" y="17237"/>
                      <a:pt x="9068" y="17237"/>
                    </a:cubicBezTo>
                    <a:cubicBezTo>
                      <a:pt x="10986" y="16598"/>
                      <a:pt x="12902" y="15960"/>
                      <a:pt x="14820" y="15322"/>
                    </a:cubicBezTo>
                    <a:cubicBezTo>
                      <a:pt x="28238" y="12768"/>
                      <a:pt x="41657" y="12768"/>
                      <a:pt x="55076" y="15322"/>
                    </a:cubicBezTo>
                    <a:cubicBezTo>
                      <a:pt x="69773" y="17237"/>
                      <a:pt x="85748" y="27451"/>
                      <a:pt x="86387" y="44049"/>
                    </a:cubicBezTo>
                    <a:lnTo>
                      <a:pt x="87665" y="77246"/>
                    </a:lnTo>
                    <a:cubicBezTo>
                      <a:pt x="87665" y="80438"/>
                      <a:pt x="90221" y="82992"/>
                      <a:pt x="93416" y="83630"/>
                    </a:cubicBezTo>
                    <a:lnTo>
                      <a:pt x="126643" y="88099"/>
                    </a:lnTo>
                    <a:cubicBezTo>
                      <a:pt x="129838" y="88737"/>
                      <a:pt x="131756" y="91291"/>
                      <a:pt x="131116" y="94483"/>
                    </a:cubicBezTo>
                    <a:cubicBezTo>
                      <a:pt x="131116" y="94483"/>
                      <a:pt x="131116" y="94483"/>
                      <a:pt x="131116" y="94483"/>
                    </a:cubicBezTo>
                    <a:cubicBezTo>
                      <a:pt x="130477" y="97036"/>
                      <a:pt x="128561" y="98313"/>
                      <a:pt x="126005" y="97675"/>
                    </a:cubicBezTo>
                    <a:lnTo>
                      <a:pt x="80636" y="91291"/>
                    </a:lnTo>
                    <a:cubicBezTo>
                      <a:pt x="75524" y="90652"/>
                      <a:pt x="71690" y="86184"/>
                      <a:pt x="71690" y="81076"/>
                    </a:cubicBezTo>
                    <a:lnTo>
                      <a:pt x="70412" y="42134"/>
                    </a:lnTo>
                    <a:cubicBezTo>
                      <a:pt x="70412" y="38304"/>
                      <a:pt x="67217" y="35750"/>
                      <a:pt x="64022" y="35750"/>
                    </a:cubicBezTo>
                    <a:cubicBezTo>
                      <a:pt x="60188" y="35750"/>
                      <a:pt x="57632" y="38942"/>
                      <a:pt x="57632" y="42134"/>
                    </a:cubicBezTo>
                    <a:lnTo>
                      <a:pt x="58910" y="81076"/>
                    </a:lnTo>
                    <a:cubicBezTo>
                      <a:pt x="58910" y="85545"/>
                      <a:pt x="60827" y="90014"/>
                      <a:pt x="62744" y="93206"/>
                    </a:cubicBezTo>
                    <a:lnTo>
                      <a:pt x="62744" y="123211"/>
                    </a:lnTo>
                    <a:cubicBezTo>
                      <a:pt x="62744" y="127041"/>
                      <a:pt x="65300" y="129595"/>
                      <a:pt x="69134" y="129595"/>
                    </a:cubicBezTo>
                    <a:cubicBezTo>
                      <a:pt x="72968" y="129595"/>
                      <a:pt x="75524" y="127041"/>
                      <a:pt x="75524" y="123211"/>
                    </a:cubicBezTo>
                    <a:lnTo>
                      <a:pt x="75524" y="102782"/>
                    </a:lnTo>
                    <a:cubicBezTo>
                      <a:pt x="76802" y="102782"/>
                      <a:pt x="77441" y="103420"/>
                      <a:pt x="78719" y="103420"/>
                    </a:cubicBezTo>
                    <a:lnTo>
                      <a:pt x="124087" y="109804"/>
                    </a:lnTo>
                    <a:cubicBezTo>
                      <a:pt x="124726" y="109804"/>
                      <a:pt x="125366" y="109804"/>
                      <a:pt x="126005" y="109804"/>
                    </a:cubicBezTo>
                    <a:cubicBezTo>
                      <a:pt x="134311" y="109804"/>
                      <a:pt x="141341" y="104059"/>
                      <a:pt x="143257" y="96398"/>
                    </a:cubicBezTo>
                    <a:lnTo>
                      <a:pt x="143257" y="95760"/>
                    </a:lnTo>
                    <a:cubicBezTo>
                      <a:pt x="145174" y="86822"/>
                      <a:pt x="138784" y="77246"/>
                      <a:pt x="128561" y="75331"/>
                    </a:cubicBezTo>
                    <a:cubicBezTo>
                      <a:pt x="128561" y="75331"/>
                      <a:pt x="128561" y="75331"/>
                      <a:pt x="128561" y="75331"/>
                    </a:cubicBezTo>
                    <a:close/>
                  </a:path>
                </a:pathLst>
              </a:custGeom>
              <a:grp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D1E6498B-CBE4-BC65-7EDD-DE74CFAA857C}"/>
                  </a:ext>
                </a:extLst>
              </p:cNvPr>
              <p:cNvSpPr/>
              <p:nvPr/>
            </p:nvSpPr>
            <p:spPr>
              <a:xfrm>
                <a:off x="9110715" y="6102081"/>
                <a:ext cx="161664" cy="148108"/>
              </a:xfrm>
              <a:custGeom>
                <a:avLst/>
                <a:gdLst>
                  <a:gd name="connsiteX0" fmla="*/ 140579 w 161664"/>
                  <a:gd name="connsiteY0" fmla="*/ 125126 h 148108"/>
                  <a:gd name="connsiteX1" fmla="*/ 161665 w 161664"/>
                  <a:gd name="connsiteY1" fmla="*/ 104059 h 148108"/>
                  <a:gd name="connsiteX2" fmla="*/ 161665 w 161664"/>
                  <a:gd name="connsiteY2" fmla="*/ 21067 h 148108"/>
                  <a:gd name="connsiteX3" fmla="*/ 140579 w 161664"/>
                  <a:gd name="connsiteY3" fmla="*/ 0 h 148108"/>
                  <a:gd name="connsiteX4" fmla="*/ 21086 w 161664"/>
                  <a:gd name="connsiteY4" fmla="*/ 0 h 148108"/>
                  <a:gd name="connsiteX5" fmla="*/ 0 w 161664"/>
                  <a:gd name="connsiteY5" fmla="*/ 21067 h 148108"/>
                  <a:gd name="connsiteX6" fmla="*/ 0 w 161664"/>
                  <a:gd name="connsiteY6" fmla="*/ 58733 h 148108"/>
                  <a:gd name="connsiteX7" fmla="*/ 6390 w 161664"/>
                  <a:gd name="connsiteY7" fmla="*/ 65117 h 148108"/>
                  <a:gd name="connsiteX8" fmla="*/ 12780 w 161664"/>
                  <a:gd name="connsiteY8" fmla="*/ 58733 h 148108"/>
                  <a:gd name="connsiteX9" fmla="*/ 12780 w 161664"/>
                  <a:gd name="connsiteY9" fmla="*/ 21067 h 148108"/>
                  <a:gd name="connsiteX10" fmla="*/ 21086 w 161664"/>
                  <a:gd name="connsiteY10" fmla="*/ 12768 h 148108"/>
                  <a:gd name="connsiteX11" fmla="*/ 140579 w 161664"/>
                  <a:gd name="connsiteY11" fmla="*/ 12768 h 148108"/>
                  <a:gd name="connsiteX12" fmla="*/ 148885 w 161664"/>
                  <a:gd name="connsiteY12" fmla="*/ 21067 h 148108"/>
                  <a:gd name="connsiteX13" fmla="*/ 148885 w 161664"/>
                  <a:gd name="connsiteY13" fmla="*/ 92568 h 148108"/>
                  <a:gd name="connsiteX14" fmla="*/ 113740 w 161664"/>
                  <a:gd name="connsiteY14" fmla="*/ 92568 h 148108"/>
                  <a:gd name="connsiteX15" fmla="*/ 80513 w 161664"/>
                  <a:gd name="connsiteY15" fmla="*/ 70224 h 148108"/>
                  <a:gd name="connsiteX16" fmla="*/ 47286 w 161664"/>
                  <a:gd name="connsiteY16" fmla="*/ 92568 h 148108"/>
                  <a:gd name="connsiteX17" fmla="*/ 34506 w 161664"/>
                  <a:gd name="connsiteY17" fmla="*/ 92568 h 148108"/>
                  <a:gd name="connsiteX18" fmla="*/ 28116 w 161664"/>
                  <a:gd name="connsiteY18" fmla="*/ 98952 h 148108"/>
                  <a:gd name="connsiteX19" fmla="*/ 34506 w 161664"/>
                  <a:gd name="connsiteY19" fmla="*/ 105336 h 148108"/>
                  <a:gd name="connsiteX20" fmla="*/ 148885 w 161664"/>
                  <a:gd name="connsiteY20" fmla="*/ 105336 h 148108"/>
                  <a:gd name="connsiteX21" fmla="*/ 140579 w 161664"/>
                  <a:gd name="connsiteY21" fmla="*/ 112997 h 148108"/>
                  <a:gd name="connsiteX22" fmla="*/ 34506 w 161664"/>
                  <a:gd name="connsiteY22" fmla="*/ 112997 h 148108"/>
                  <a:gd name="connsiteX23" fmla="*/ 28116 w 161664"/>
                  <a:gd name="connsiteY23" fmla="*/ 119381 h 148108"/>
                  <a:gd name="connsiteX24" fmla="*/ 34506 w 161664"/>
                  <a:gd name="connsiteY24" fmla="*/ 125765 h 148108"/>
                  <a:gd name="connsiteX25" fmla="*/ 61982 w 161664"/>
                  <a:gd name="connsiteY25" fmla="*/ 125765 h 148108"/>
                  <a:gd name="connsiteX26" fmla="*/ 61982 w 161664"/>
                  <a:gd name="connsiteY26" fmla="*/ 141724 h 148108"/>
                  <a:gd name="connsiteX27" fmla="*/ 68372 w 161664"/>
                  <a:gd name="connsiteY27" fmla="*/ 148108 h 148108"/>
                  <a:gd name="connsiteX28" fmla="*/ 155275 w 161664"/>
                  <a:gd name="connsiteY28" fmla="*/ 148108 h 148108"/>
                  <a:gd name="connsiteX29" fmla="*/ 161665 w 161664"/>
                  <a:gd name="connsiteY29" fmla="*/ 141724 h 148108"/>
                  <a:gd name="connsiteX30" fmla="*/ 155275 w 161664"/>
                  <a:gd name="connsiteY30" fmla="*/ 135341 h 148108"/>
                  <a:gd name="connsiteX31" fmla="*/ 99044 w 161664"/>
                  <a:gd name="connsiteY31" fmla="*/ 135341 h 148108"/>
                  <a:gd name="connsiteX32" fmla="*/ 99044 w 161664"/>
                  <a:gd name="connsiteY32" fmla="*/ 125765 h 148108"/>
                  <a:gd name="connsiteX33" fmla="*/ 140579 w 161664"/>
                  <a:gd name="connsiteY33" fmla="*/ 125126 h 148108"/>
                  <a:gd name="connsiteX34" fmla="*/ 81152 w 161664"/>
                  <a:gd name="connsiteY34" fmla="*/ 82353 h 148108"/>
                  <a:gd name="connsiteX35" fmla="*/ 100961 w 161664"/>
                  <a:gd name="connsiteY35" fmla="*/ 91929 h 148108"/>
                  <a:gd name="connsiteX36" fmla="*/ 61343 w 161664"/>
                  <a:gd name="connsiteY36" fmla="*/ 91929 h 148108"/>
                  <a:gd name="connsiteX37" fmla="*/ 81152 w 161664"/>
                  <a:gd name="connsiteY37" fmla="*/ 82353 h 148108"/>
                  <a:gd name="connsiteX38" fmla="*/ 81152 w 161664"/>
                  <a:gd name="connsiteY38" fmla="*/ 82353 h 148108"/>
                  <a:gd name="connsiteX39" fmla="*/ 86903 w 161664"/>
                  <a:gd name="connsiteY39" fmla="*/ 134702 h 148108"/>
                  <a:gd name="connsiteX40" fmla="*/ 75401 w 161664"/>
                  <a:gd name="connsiteY40" fmla="*/ 134702 h 148108"/>
                  <a:gd name="connsiteX41" fmla="*/ 75401 w 161664"/>
                  <a:gd name="connsiteY41" fmla="*/ 125126 h 148108"/>
                  <a:gd name="connsiteX42" fmla="*/ 86903 w 161664"/>
                  <a:gd name="connsiteY42" fmla="*/ 125126 h 148108"/>
                  <a:gd name="connsiteX43" fmla="*/ 86903 w 161664"/>
                  <a:gd name="connsiteY43" fmla="*/ 134702 h 14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1664" h="148108">
                    <a:moveTo>
                      <a:pt x="140579" y="125126"/>
                    </a:moveTo>
                    <a:cubicBezTo>
                      <a:pt x="152080" y="125126"/>
                      <a:pt x="161665" y="115550"/>
                      <a:pt x="161665" y="104059"/>
                    </a:cubicBezTo>
                    <a:lnTo>
                      <a:pt x="161665" y="21067"/>
                    </a:lnTo>
                    <a:cubicBezTo>
                      <a:pt x="161665" y="9576"/>
                      <a:pt x="152080" y="0"/>
                      <a:pt x="140579" y="0"/>
                    </a:cubicBezTo>
                    <a:lnTo>
                      <a:pt x="21086" y="0"/>
                    </a:lnTo>
                    <a:cubicBezTo>
                      <a:pt x="9585" y="0"/>
                      <a:pt x="0" y="9576"/>
                      <a:pt x="0" y="21067"/>
                    </a:cubicBezTo>
                    <a:lnTo>
                      <a:pt x="0" y="58733"/>
                    </a:lnTo>
                    <a:cubicBezTo>
                      <a:pt x="0" y="62563"/>
                      <a:pt x="2556" y="65117"/>
                      <a:pt x="6390" y="65117"/>
                    </a:cubicBezTo>
                    <a:cubicBezTo>
                      <a:pt x="10224" y="65117"/>
                      <a:pt x="12780" y="62563"/>
                      <a:pt x="12780" y="58733"/>
                    </a:cubicBezTo>
                    <a:lnTo>
                      <a:pt x="12780" y="21067"/>
                    </a:lnTo>
                    <a:cubicBezTo>
                      <a:pt x="12780" y="16598"/>
                      <a:pt x="16614" y="12768"/>
                      <a:pt x="21086" y="12768"/>
                    </a:cubicBezTo>
                    <a:lnTo>
                      <a:pt x="140579" y="12768"/>
                    </a:lnTo>
                    <a:cubicBezTo>
                      <a:pt x="145051" y="12768"/>
                      <a:pt x="148885" y="16598"/>
                      <a:pt x="148885" y="21067"/>
                    </a:cubicBezTo>
                    <a:lnTo>
                      <a:pt x="148885" y="92568"/>
                    </a:lnTo>
                    <a:lnTo>
                      <a:pt x="113740" y="92568"/>
                    </a:lnTo>
                    <a:cubicBezTo>
                      <a:pt x="111185" y="81077"/>
                      <a:pt x="101600" y="70224"/>
                      <a:pt x="80513" y="70224"/>
                    </a:cubicBezTo>
                    <a:cubicBezTo>
                      <a:pt x="59426" y="70224"/>
                      <a:pt x="49841" y="81077"/>
                      <a:pt x="47286" y="92568"/>
                    </a:cubicBezTo>
                    <a:lnTo>
                      <a:pt x="34506" y="92568"/>
                    </a:lnTo>
                    <a:cubicBezTo>
                      <a:pt x="30671" y="92568"/>
                      <a:pt x="28116" y="95121"/>
                      <a:pt x="28116" y="98952"/>
                    </a:cubicBezTo>
                    <a:cubicBezTo>
                      <a:pt x="28116" y="102782"/>
                      <a:pt x="30671" y="105336"/>
                      <a:pt x="34506" y="105336"/>
                    </a:cubicBezTo>
                    <a:lnTo>
                      <a:pt x="148885" y="105336"/>
                    </a:lnTo>
                    <a:cubicBezTo>
                      <a:pt x="148246" y="109805"/>
                      <a:pt x="145051" y="112997"/>
                      <a:pt x="140579" y="112997"/>
                    </a:cubicBezTo>
                    <a:lnTo>
                      <a:pt x="34506" y="112997"/>
                    </a:lnTo>
                    <a:cubicBezTo>
                      <a:pt x="30671" y="112997"/>
                      <a:pt x="28116" y="115550"/>
                      <a:pt x="28116" y="119381"/>
                    </a:cubicBezTo>
                    <a:cubicBezTo>
                      <a:pt x="28116" y="123211"/>
                      <a:pt x="30671" y="125765"/>
                      <a:pt x="34506" y="125765"/>
                    </a:cubicBezTo>
                    <a:lnTo>
                      <a:pt x="61982" y="125765"/>
                    </a:lnTo>
                    <a:lnTo>
                      <a:pt x="61982" y="141724"/>
                    </a:lnTo>
                    <a:cubicBezTo>
                      <a:pt x="61982" y="145555"/>
                      <a:pt x="64538" y="148108"/>
                      <a:pt x="68372" y="148108"/>
                    </a:cubicBezTo>
                    <a:lnTo>
                      <a:pt x="155275" y="148108"/>
                    </a:lnTo>
                    <a:cubicBezTo>
                      <a:pt x="159110" y="148108"/>
                      <a:pt x="161665" y="145555"/>
                      <a:pt x="161665" y="141724"/>
                    </a:cubicBezTo>
                    <a:cubicBezTo>
                      <a:pt x="161665" y="137894"/>
                      <a:pt x="159110" y="135341"/>
                      <a:pt x="155275" y="135341"/>
                    </a:cubicBezTo>
                    <a:lnTo>
                      <a:pt x="99044" y="135341"/>
                    </a:lnTo>
                    <a:lnTo>
                      <a:pt x="99044" y="125765"/>
                    </a:lnTo>
                    <a:lnTo>
                      <a:pt x="140579" y="125126"/>
                    </a:lnTo>
                    <a:close/>
                    <a:moveTo>
                      <a:pt x="81152" y="82353"/>
                    </a:moveTo>
                    <a:cubicBezTo>
                      <a:pt x="93932" y="82353"/>
                      <a:pt x="99044" y="87461"/>
                      <a:pt x="100961" y="91929"/>
                    </a:cubicBezTo>
                    <a:lnTo>
                      <a:pt x="61343" y="91929"/>
                    </a:lnTo>
                    <a:cubicBezTo>
                      <a:pt x="63261" y="87461"/>
                      <a:pt x="68372" y="82353"/>
                      <a:pt x="81152" y="82353"/>
                    </a:cubicBezTo>
                    <a:lnTo>
                      <a:pt x="81152" y="82353"/>
                    </a:lnTo>
                    <a:close/>
                    <a:moveTo>
                      <a:pt x="86903" y="134702"/>
                    </a:moveTo>
                    <a:lnTo>
                      <a:pt x="75401" y="134702"/>
                    </a:lnTo>
                    <a:lnTo>
                      <a:pt x="75401" y="125126"/>
                    </a:lnTo>
                    <a:lnTo>
                      <a:pt x="86903" y="125126"/>
                    </a:lnTo>
                    <a:lnTo>
                      <a:pt x="86903" y="134702"/>
                    </a:lnTo>
                    <a:close/>
                  </a:path>
                </a:pathLst>
              </a:custGeom>
              <a:grpFill/>
              <a:ln w="639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655718108"/>
      </p:ext>
    </p:extLst>
  </p:cSld>
  <p:clrMapOvr>
    <a:masterClrMapping/>
  </p:clrMapOvr>
  <p:transition spd="slow" advTm="10000">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AF4E9-055A-990B-A7A3-8A46DE0CCF7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0074ED0-3CB8-7912-CF16-3E5A784FED81}"/>
              </a:ext>
            </a:extLst>
          </p:cNvPr>
          <p:cNvSpPr>
            <a:spLocks noGrp="1"/>
          </p:cNvSpPr>
          <p:nvPr>
            <p:ph type="body" sz="quarter" idx="4294967295"/>
          </p:nvPr>
        </p:nvSpPr>
        <p:spPr>
          <a:xfrm>
            <a:off x="992472" y="481013"/>
            <a:ext cx="10625138" cy="450850"/>
          </a:xfrm>
        </p:spPr>
        <p:txBody>
          <a:bodyPr/>
          <a:lstStyle/>
          <a:p>
            <a:pPr marL="0" indent="0" algn="ctr">
              <a:buNone/>
            </a:pPr>
            <a:r>
              <a:rPr lang="en-US" sz="2000" dirty="0">
                <a:solidFill>
                  <a:srgbClr val="00D9FF"/>
                </a:solidFill>
              </a:rPr>
              <a:t>Poll Question #2</a:t>
            </a:r>
          </a:p>
        </p:txBody>
      </p:sp>
      <p:sp>
        <p:nvSpPr>
          <p:cNvPr id="6" name="TextBox 5">
            <a:extLst>
              <a:ext uri="{FF2B5EF4-FFF2-40B4-BE49-F238E27FC236}">
                <a16:creationId xmlns:a16="http://schemas.microsoft.com/office/drawing/2014/main" id="{40525C8C-3D55-E6A5-4BCD-A0EB826FCC0F}"/>
              </a:ext>
            </a:extLst>
          </p:cNvPr>
          <p:cNvSpPr txBox="1"/>
          <p:nvPr/>
        </p:nvSpPr>
        <p:spPr>
          <a:xfrm>
            <a:off x="803383" y="2013157"/>
            <a:ext cx="11003316" cy="4047262"/>
          </a:xfrm>
          <a:prstGeom prst="rect">
            <a:avLst/>
          </a:prstGeom>
          <a:noFill/>
        </p:spPr>
        <p:txBody>
          <a:bodyPr wrap="square">
            <a:spAutoFit/>
          </a:bodyPr>
          <a:lstStyle/>
          <a:p>
            <a:pPr marL="514350" marR="0" indent="-514350">
              <a:spcAft>
                <a:spcPts val="600"/>
              </a:spcAft>
              <a:buFont typeface="+mj-lt"/>
              <a:buAutoNum type="alphaUcPeriod"/>
            </a:pPr>
            <a:r>
              <a:rPr lang="en-US" sz="2000" b="1" dirty="0">
                <a:solidFill>
                  <a:schemeClr val="bg1"/>
                </a:solidFill>
                <a:ea typeface="Aptos" panose="020B0004020202020204" pitchFamily="34" charset="0"/>
                <a:cs typeface="Aptos" panose="020B0004020202020204" pitchFamily="34" charset="0"/>
              </a:rPr>
              <a:t>(Airlines) TSA </a:t>
            </a:r>
            <a:r>
              <a:rPr lang="en-US" sz="2000" b="1">
                <a:solidFill>
                  <a:schemeClr val="bg1"/>
                </a:solidFill>
                <a:ea typeface="Aptos" panose="020B0004020202020204" pitchFamily="34" charset="0"/>
                <a:cs typeface="Aptos" panose="020B0004020202020204" pitchFamily="34" charset="0"/>
              </a:rPr>
              <a:t>Pre-Check style </a:t>
            </a:r>
            <a:r>
              <a:rPr lang="en-US" sz="2000" b="1" dirty="0">
                <a:solidFill>
                  <a:schemeClr val="bg1"/>
                </a:solidFill>
                <a:ea typeface="Aptos" panose="020B0004020202020204" pitchFamily="34" charset="0"/>
                <a:cs typeface="Aptos" panose="020B0004020202020204" pitchFamily="34" charset="0"/>
              </a:rPr>
              <a:t>streamlined verification</a:t>
            </a:r>
          </a:p>
          <a:p>
            <a:pPr marL="568325" lvl="1" indent="3175">
              <a:spcAft>
                <a:spcPts val="1800"/>
              </a:spcAft>
            </a:pPr>
            <a:r>
              <a:rPr lang="en-US" sz="1400" i="1" dirty="0">
                <a:solidFill>
                  <a:srgbClr val="00D9FF"/>
                </a:solidFill>
                <a:ea typeface="Aptos" panose="020B0004020202020204" pitchFamily="34" charset="0"/>
                <a:cs typeface="Aptos" panose="020B0004020202020204" pitchFamily="34" charset="0"/>
              </a:rPr>
              <a:t>Concept: A centralized system where providers complete an upfront, thorough background check to gain expedited </a:t>
            </a:r>
            <a:br>
              <a:rPr lang="en-US" sz="1400" i="1" dirty="0">
                <a:solidFill>
                  <a:srgbClr val="00D9FF"/>
                </a:solidFill>
                <a:ea typeface="Aptos" panose="020B0004020202020204" pitchFamily="34" charset="0"/>
                <a:cs typeface="Aptos" panose="020B0004020202020204" pitchFamily="34" charset="0"/>
              </a:rPr>
            </a:br>
            <a:r>
              <a:rPr lang="en-US" sz="1400" i="1" dirty="0">
                <a:solidFill>
                  <a:srgbClr val="00D9FF"/>
                </a:solidFill>
                <a:ea typeface="Aptos" panose="020B0004020202020204" pitchFamily="34" charset="0"/>
                <a:cs typeface="Aptos" panose="020B0004020202020204" pitchFamily="34" charset="0"/>
              </a:rPr>
              <a:t>credentialing for future facilities or roles.</a:t>
            </a:r>
          </a:p>
          <a:p>
            <a:pPr marL="514350" indent="-514350">
              <a:spcAft>
                <a:spcPts val="600"/>
              </a:spcAft>
              <a:buFont typeface="+mj-lt"/>
              <a:buAutoNum type="alphaUcPeriod"/>
            </a:pPr>
            <a:r>
              <a:rPr lang="en-US" sz="2000" b="1" dirty="0">
                <a:solidFill>
                  <a:schemeClr val="bg1"/>
                </a:solidFill>
                <a:effectLst/>
                <a:ea typeface="Aptos" panose="020B0004020202020204" pitchFamily="34" charset="0"/>
                <a:cs typeface="Aptos" panose="020B0004020202020204" pitchFamily="34" charset="0"/>
              </a:rPr>
              <a:t>(Education) Common application with supplemental forms</a:t>
            </a:r>
          </a:p>
          <a:p>
            <a:pPr marL="568325" lvl="1">
              <a:spcAft>
                <a:spcPts val="1800"/>
              </a:spcAft>
            </a:pPr>
            <a:r>
              <a:rPr lang="en-US" sz="1400" i="1" dirty="0">
                <a:solidFill>
                  <a:srgbClr val="00D9FF"/>
                </a:solidFill>
                <a:effectLst/>
                <a:ea typeface="Aptos" panose="020B0004020202020204" pitchFamily="34" charset="0"/>
                <a:cs typeface="Aptos" panose="020B0004020202020204" pitchFamily="34" charset="0"/>
              </a:rPr>
              <a:t>Concept: A standardized credentialing application shared across all healthcare organizations, with the option to add </a:t>
            </a:r>
            <a:br>
              <a:rPr lang="en-US" sz="1400" i="1" dirty="0">
                <a:solidFill>
                  <a:srgbClr val="00D9FF"/>
                </a:solidFill>
                <a:effectLst/>
                <a:ea typeface="Aptos" panose="020B0004020202020204" pitchFamily="34" charset="0"/>
                <a:cs typeface="Aptos" panose="020B0004020202020204" pitchFamily="34" charset="0"/>
              </a:rPr>
            </a:br>
            <a:r>
              <a:rPr lang="en-US" sz="1400" i="1" dirty="0">
                <a:solidFill>
                  <a:srgbClr val="00D9FF"/>
                </a:solidFill>
                <a:effectLst/>
                <a:ea typeface="Aptos" panose="020B0004020202020204" pitchFamily="34" charset="0"/>
                <a:cs typeface="Aptos" panose="020B0004020202020204" pitchFamily="34" charset="0"/>
              </a:rPr>
              <a:t>supplemental details specific to individual facilities.</a:t>
            </a:r>
          </a:p>
          <a:p>
            <a:pPr marL="514350" marR="0" indent="-514350">
              <a:spcAft>
                <a:spcPts val="600"/>
              </a:spcAft>
              <a:buFont typeface="+mj-lt"/>
              <a:buAutoNum type="alphaUcPeriod"/>
            </a:pPr>
            <a:r>
              <a:rPr lang="en-US" sz="2000" b="1" dirty="0">
                <a:solidFill>
                  <a:schemeClr val="bg1"/>
                </a:solidFill>
                <a:ea typeface="Aptos" panose="020B0004020202020204" pitchFamily="34" charset="0"/>
                <a:cs typeface="Aptos" panose="020B0004020202020204" pitchFamily="34" charset="0"/>
              </a:rPr>
              <a:t>(Banking) Centralized credit </a:t>
            </a:r>
            <a:r>
              <a:rPr lang="en-US" sz="2000" b="1">
                <a:solidFill>
                  <a:schemeClr val="bg1"/>
                </a:solidFill>
                <a:ea typeface="Aptos" panose="020B0004020202020204" pitchFamily="34" charset="0"/>
                <a:cs typeface="Aptos" panose="020B0004020202020204" pitchFamily="34" charset="0"/>
              </a:rPr>
              <a:t>score like </a:t>
            </a:r>
            <a:r>
              <a:rPr lang="en-US" sz="2000" b="1" dirty="0">
                <a:solidFill>
                  <a:schemeClr val="bg1"/>
                </a:solidFill>
                <a:ea typeface="Aptos" panose="020B0004020202020204" pitchFamily="34" charset="0"/>
                <a:cs typeface="Aptos" panose="020B0004020202020204" pitchFamily="34" charset="0"/>
              </a:rPr>
              <a:t>system for credentialing verification</a:t>
            </a:r>
          </a:p>
          <a:p>
            <a:pPr marL="568325" lvl="1">
              <a:spcAft>
                <a:spcPts val="1800"/>
              </a:spcAft>
            </a:pPr>
            <a:r>
              <a:rPr lang="en-US" sz="1400" i="1" dirty="0">
                <a:solidFill>
                  <a:srgbClr val="00D9FF"/>
                </a:solidFill>
                <a:ea typeface="Aptos" panose="020B0004020202020204" pitchFamily="34" charset="0"/>
                <a:cs typeface="Aptos" panose="020B0004020202020204" pitchFamily="34" charset="0"/>
              </a:rPr>
              <a:t>Concept: A system where providers are assigned a "credentialing score" based on verified qualifications, updated in real-time, </a:t>
            </a:r>
            <a:br>
              <a:rPr lang="en-US" sz="1400" i="1" dirty="0">
                <a:solidFill>
                  <a:srgbClr val="00D9FF"/>
                </a:solidFill>
                <a:ea typeface="Aptos" panose="020B0004020202020204" pitchFamily="34" charset="0"/>
                <a:cs typeface="Aptos" panose="020B0004020202020204" pitchFamily="34" charset="0"/>
              </a:rPr>
            </a:br>
            <a:r>
              <a:rPr lang="en-US" sz="1400" i="1" dirty="0">
                <a:solidFill>
                  <a:srgbClr val="00D9FF"/>
                </a:solidFill>
                <a:ea typeface="Aptos" panose="020B0004020202020204" pitchFamily="34" charset="0"/>
                <a:cs typeface="Aptos" panose="020B0004020202020204" pitchFamily="34" charset="0"/>
              </a:rPr>
              <a:t>and accessible to healthcare organizations</a:t>
            </a:r>
            <a:r>
              <a:rPr lang="en-US" sz="1400" i="1">
                <a:solidFill>
                  <a:srgbClr val="00D9FF"/>
                </a:solidFill>
                <a:ea typeface="Aptos" panose="020B0004020202020204" pitchFamily="34" charset="0"/>
                <a:cs typeface="Aptos" panose="020B0004020202020204" pitchFamily="34" charset="0"/>
              </a:rPr>
              <a:t>.</a:t>
            </a:r>
            <a:endParaRPr lang="en-US" sz="1400" i="1" dirty="0">
              <a:solidFill>
                <a:srgbClr val="00D9FF"/>
              </a:solidFill>
              <a:effectLst/>
              <a:ea typeface="Aptos" panose="020B0004020202020204" pitchFamily="34" charset="0"/>
              <a:cs typeface="Aptos" panose="020B0004020202020204" pitchFamily="34" charset="0"/>
            </a:endParaRPr>
          </a:p>
          <a:p>
            <a:pPr marL="514350" indent="-514350">
              <a:spcAft>
                <a:spcPts val="600"/>
              </a:spcAft>
              <a:buFont typeface="+mj-lt"/>
              <a:buAutoNum type="alphaUcPeriod"/>
            </a:pPr>
            <a:r>
              <a:rPr lang="en-US" sz="2000" b="1" dirty="0">
                <a:solidFill>
                  <a:schemeClr val="bg1"/>
                </a:solidFill>
                <a:effectLst/>
                <a:ea typeface="Aptos" panose="020B0004020202020204" pitchFamily="34" charset="0"/>
                <a:cs typeface="Aptos" panose="020B0004020202020204" pitchFamily="34" charset="0"/>
              </a:rPr>
              <a:t>(Technology) Single sign-on (SSO</a:t>
            </a:r>
            <a:r>
              <a:rPr lang="en-US" sz="2000" b="1">
                <a:solidFill>
                  <a:schemeClr val="bg1"/>
                </a:solidFill>
                <a:effectLst/>
                <a:ea typeface="Aptos" panose="020B0004020202020204" pitchFamily="34" charset="0"/>
                <a:cs typeface="Aptos" panose="020B0004020202020204" pitchFamily="34" charset="0"/>
              </a:rPr>
              <a:t>) </a:t>
            </a:r>
            <a:r>
              <a:rPr lang="en-US" sz="2000" b="1" dirty="0">
                <a:solidFill>
                  <a:schemeClr val="bg1"/>
                </a:solidFill>
                <a:effectLst/>
                <a:ea typeface="Aptos" panose="020B0004020202020204" pitchFamily="34" charset="0"/>
                <a:cs typeface="Aptos" panose="020B0004020202020204" pitchFamily="34" charset="0"/>
              </a:rPr>
              <a:t>style universal credentialing access</a:t>
            </a:r>
          </a:p>
          <a:p>
            <a:pPr marL="568325" lvl="1">
              <a:spcAft>
                <a:spcPts val="1800"/>
              </a:spcAft>
            </a:pPr>
            <a:r>
              <a:rPr lang="en-US" sz="1400" i="1" dirty="0">
                <a:solidFill>
                  <a:srgbClr val="00D9FF"/>
                </a:solidFill>
                <a:effectLst/>
                <a:ea typeface="Aptos" panose="020B0004020202020204" pitchFamily="34" charset="0"/>
                <a:cs typeface="Aptos" panose="020B0004020202020204" pitchFamily="34" charset="0"/>
              </a:rPr>
              <a:t>Concept: A secure, centralized "lock box" system where all primary source verifications (PSVs) and provider credentials are stored, maintained, and easily accessible by authorized healthcare organizations through a Single Sign-On (SSO)-style interface.</a:t>
            </a:r>
          </a:p>
        </p:txBody>
      </p:sp>
      <p:sp>
        <p:nvSpPr>
          <p:cNvPr id="7" name="Title 2">
            <a:extLst>
              <a:ext uri="{FF2B5EF4-FFF2-40B4-BE49-F238E27FC236}">
                <a16:creationId xmlns:a16="http://schemas.microsoft.com/office/drawing/2014/main" id="{93AA8097-CB81-2810-B484-B394E17BE066}"/>
              </a:ext>
            </a:extLst>
          </p:cNvPr>
          <p:cNvSpPr txBox="1">
            <a:spLocks/>
          </p:cNvSpPr>
          <p:nvPr/>
        </p:nvSpPr>
        <p:spPr>
          <a:xfrm>
            <a:off x="1429258" y="1024002"/>
            <a:ext cx="9751566" cy="852627"/>
          </a:xfrm>
          <a:prstGeom prst="rect">
            <a:avLst/>
          </a:prstGeom>
        </p:spPr>
        <p:txBody>
          <a:bodyPr vert="horz" lIns="0" tIns="0" rIns="0" bIns="0" rtlCol="0" anchor="t">
            <a:noAutofit/>
          </a:bodyPr>
          <a:lstStyle>
            <a:lvl1pPr algn="ctr" defTabSz="914400" rtl="0" eaLnBrk="1" latinLnBrk="0" hangingPunct="1">
              <a:lnSpc>
                <a:spcPct val="90000"/>
              </a:lnSpc>
              <a:spcBef>
                <a:spcPct val="0"/>
              </a:spcBef>
              <a:buNone/>
              <a:defRPr lang="en-US" sz="3200" kern="1200" dirty="0">
                <a:solidFill>
                  <a:schemeClr val="bg1"/>
                </a:solidFill>
                <a:latin typeface="+mj-lt"/>
                <a:ea typeface="+mj-ea"/>
                <a:cs typeface="+mj-cs"/>
              </a:defRPr>
            </a:lvl1pPr>
          </a:lstStyle>
          <a:p>
            <a:r>
              <a:rPr lang="en-US" sz="2400" dirty="0"/>
              <a:t>Which industry model, if adopted in healthcare, </a:t>
            </a:r>
            <a:br>
              <a:rPr lang="en-US" sz="2400" dirty="0"/>
            </a:br>
            <a:r>
              <a:rPr lang="en-US" sz="2400" dirty="0"/>
              <a:t>would most practically evolve provider credentialing?</a:t>
            </a:r>
          </a:p>
        </p:txBody>
      </p:sp>
    </p:spTree>
    <p:extLst>
      <p:ext uri="{BB962C8B-B14F-4D97-AF65-F5344CB8AC3E}">
        <p14:creationId xmlns:p14="http://schemas.microsoft.com/office/powerpoint/2010/main" val="222037636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19C24AD-1D30-6AC3-DC25-DE20A9FAB29E}"/>
              </a:ext>
            </a:extLst>
          </p:cNvPr>
          <p:cNvSpPr/>
          <p:nvPr/>
        </p:nvSpPr>
        <p:spPr>
          <a:xfrm rot="5400000" flipH="1">
            <a:off x="9437419" y="1459015"/>
            <a:ext cx="2649697" cy="2859464"/>
          </a:xfrm>
          <a:prstGeom prst="rect">
            <a:avLst/>
          </a:prstGeom>
          <a:gradFill>
            <a:gsLst>
              <a:gs pos="0">
                <a:schemeClr val="bg1">
                  <a:alpha val="0"/>
                </a:schemeClr>
              </a:gs>
              <a:gs pos="37000">
                <a:schemeClr val="accent1">
                  <a:lumMod val="60000"/>
                  <a:lumOff val="40000"/>
                  <a:alpha val="66000"/>
                </a:schemeClr>
              </a:gs>
              <a:gs pos="89000">
                <a:schemeClr val="accent4"/>
              </a:gs>
              <a:gs pos="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p:cNvSpPr>
            <a:spLocks noGrp="1"/>
          </p:cNvSpPr>
          <p:nvPr>
            <p:ph type="title" idx="4294967295"/>
          </p:nvPr>
        </p:nvSpPr>
        <p:spPr>
          <a:xfrm>
            <a:off x="0" y="252413"/>
            <a:ext cx="12192000" cy="531812"/>
          </a:xfrm>
        </p:spPr>
        <p:txBody>
          <a:bodyPr/>
          <a:lstStyle/>
          <a:p>
            <a:pPr algn="ctr"/>
            <a:r>
              <a:rPr lang="en-US" sz="3200" dirty="0"/>
              <a:t>Interoperability &amp; Data Quality: A Systemic Issue</a:t>
            </a:r>
          </a:p>
        </p:txBody>
      </p:sp>
      <p:grpSp>
        <p:nvGrpSpPr>
          <p:cNvPr id="17" name="Group 16">
            <a:extLst>
              <a:ext uri="{FF2B5EF4-FFF2-40B4-BE49-F238E27FC236}">
                <a16:creationId xmlns:a16="http://schemas.microsoft.com/office/drawing/2014/main" id="{1B6F929D-F932-8CEB-EEE4-0F15CBCC6269}"/>
              </a:ext>
            </a:extLst>
          </p:cNvPr>
          <p:cNvGrpSpPr/>
          <p:nvPr/>
        </p:nvGrpSpPr>
        <p:grpSpPr>
          <a:xfrm>
            <a:off x="7205984" y="3822182"/>
            <a:ext cx="914400" cy="914400"/>
            <a:chOff x="7289667" y="2467789"/>
            <a:chExt cx="914400" cy="914400"/>
          </a:xfrm>
        </p:grpSpPr>
        <p:sp>
          <p:nvSpPr>
            <p:cNvPr id="18" name="Oval 17">
              <a:extLst>
                <a:ext uri="{FF2B5EF4-FFF2-40B4-BE49-F238E27FC236}">
                  <a16:creationId xmlns:a16="http://schemas.microsoft.com/office/drawing/2014/main" id="{1C77BA28-504C-5981-87A3-B018C8D24B8D}"/>
                </a:ext>
              </a:extLst>
            </p:cNvPr>
            <p:cNvSpPr/>
            <p:nvPr/>
          </p:nvSpPr>
          <p:spPr>
            <a:xfrm>
              <a:off x="7289667" y="2467789"/>
              <a:ext cx="914400" cy="914400"/>
            </a:xfrm>
            <a:prstGeom prst="ellipse">
              <a:avLst/>
            </a:prstGeom>
            <a:solidFill>
              <a:srgbClr val="829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aphic 92">
              <a:extLst>
                <a:ext uri="{FF2B5EF4-FFF2-40B4-BE49-F238E27FC236}">
                  <a16:creationId xmlns:a16="http://schemas.microsoft.com/office/drawing/2014/main" id="{7E2CA936-EF63-37CD-E5F1-48C408154F78}"/>
                </a:ext>
              </a:extLst>
            </p:cNvPr>
            <p:cNvGrpSpPr/>
            <p:nvPr/>
          </p:nvGrpSpPr>
          <p:grpSpPr>
            <a:xfrm>
              <a:off x="7471214" y="2622811"/>
              <a:ext cx="565785" cy="606425"/>
              <a:chOff x="5671185" y="2973705"/>
              <a:chExt cx="848677" cy="909637"/>
            </a:xfrm>
            <a:solidFill>
              <a:schemeClr val="bg1"/>
            </a:solidFill>
          </p:grpSpPr>
          <p:sp>
            <p:nvSpPr>
              <p:cNvPr id="20" name="Freeform 104">
                <a:extLst>
                  <a:ext uri="{FF2B5EF4-FFF2-40B4-BE49-F238E27FC236}">
                    <a16:creationId xmlns:a16="http://schemas.microsoft.com/office/drawing/2014/main" id="{226D4894-F65E-CCD6-7526-8B4EEDBA6E56}"/>
                  </a:ext>
                </a:extLst>
              </p:cNvPr>
              <p:cNvSpPr/>
              <p:nvPr/>
            </p:nvSpPr>
            <p:spPr>
              <a:xfrm>
                <a:off x="6262687" y="3227070"/>
                <a:ext cx="257175" cy="623887"/>
              </a:xfrm>
              <a:custGeom>
                <a:avLst/>
                <a:gdLst>
                  <a:gd name="connsiteX0" fmla="*/ 167640 w 257175"/>
                  <a:gd name="connsiteY0" fmla="*/ 0 h 623887"/>
                  <a:gd name="connsiteX1" fmla="*/ 33338 w 257175"/>
                  <a:gd name="connsiteY1" fmla="*/ 0 h 623887"/>
                  <a:gd name="connsiteX2" fmla="*/ 21908 w 257175"/>
                  <a:gd name="connsiteY2" fmla="*/ 11430 h 623887"/>
                  <a:gd name="connsiteX3" fmla="*/ 33338 w 257175"/>
                  <a:gd name="connsiteY3" fmla="*/ 22860 h 623887"/>
                  <a:gd name="connsiteX4" fmla="*/ 165735 w 257175"/>
                  <a:gd name="connsiteY4" fmla="*/ 22860 h 623887"/>
                  <a:gd name="connsiteX5" fmla="*/ 234315 w 257175"/>
                  <a:gd name="connsiteY5" fmla="*/ 91440 h 623887"/>
                  <a:gd name="connsiteX6" fmla="*/ 227647 w 257175"/>
                  <a:gd name="connsiteY6" fmla="*/ 267653 h 623887"/>
                  <a:gd name="connsiteX7" fmla="*/ 214313 w 257175"/>
                  <a:gd name="connsiteY7" fmla="*/ 308610 h 623887"/>
                  <a:gd name="connsiteX8" fmla="*/ 180975 w 257175"/>
                  <a:gd name="connsiteY8" fmla="*/ 336232 h 623887"/>
                  <a:gd name="connsiteX9" fmla="*/ 174308 w 257175"/>
                  <a:gd name="connsiteY9" fmla="*/ 345757 h 623887"/>
                  <a:gd name="connsiteX10" fmla="*/ 162877 w 257175"/>
                  <a:gd name="connsiteY10" fmla="*/ 570547 h 623887"/>
                  <a:gd name="connsiteX11" fmla="*/ 131445 w 257175"/>
                  <a:gd name="connsiteY11" fmla="*/ 600075 h 623887"/>
                  <a:gd name="connsiteX12" fmla="*/ 65723 w 257175"/>
                  <a:gd name="connsiteY12" fmla="*/ 600075 h 623887"/>
                  <a:gd name="connsiteX13" fmla="*/ 34290 w 257175"/>
                  <a:gd name="connsiteY13" fmla="*/ 570547 h 623887"/>
                  <a:gd name="connsiteX14" fmla="*/ 22860 w 257175"/>
                  <a:gd name="connsiteY14" fmla="*/ 345757 h 623887"/>
                  <a:gd name="connsiteX15" fmla="*/ 19050 w 257175"/>
                  <a:gd name="connsiteY15" fmla="*/ 338138 h 623887"/>
                  <a:gd name="connsiteX16" fmla="*/ 11430 w 257175"/>
                  <a:gd name="connsiteY16" fmla="*/ 335280 h 623887"/>
                  <a:gd name="connsiteX17" fmla="*/ 10477 w 257175"/>
                  <a:gd name="connsiteY17" fmla="*/ 335280 h 623887"/>
                  <a:gd name="connsiteX18" fmla="*/ 2858 w 257175"/>
                  <a:gd name="connsiteY18" fmla="*/ 339090 h 623887"/>
                  <a:gd name="connsiteX19" fmla="*/ 0 w 257175"/>
                  <a:gd name="connsiteY19" fmla="*/ 347663 h 623887"/>
                  <a:gd name="connsiteX20" fmla="*/ 11430 w 257175"/>
                  <a:gd name="connsiteY20" fmla="*/ 572452 h 623887"/>
                  <a:gd name="connsiteX21" fmla="*/ 65723 w 257175"/>
                  <a:gd name="connsiteY21" fmla="*/ 623888 h 623887"/>
                  <a:gd name="connsiteX22" fmla="*/ 131445 w 257175"/>
                  <a:gd name="connsiteY22" fmla="*/ 623888 h 623887"/>
                  <a:gd name="connsiteX23" fmla="*/ 185738 w 257175"/>
                  <a:gd name="connsiteY23" fmla="*/ 572452 h 623887"/>
                  <a:gd name="connsiteX24" fmla="*/ 197167 w 257175"/>
                  <a:gd name="connsiteY24" fmla="*/ 354330 h 623887"/>
                  <a:gd name="connsiteX25" fmla="*/ 198120 w 257175"/>
                  <a:gd name="connsiteY25" fmla="*/ 354330 h 623887"/>
                  <a:gd name="connsiteX26" fmla="*/ 233363 w 257175"/>
                  <a:gd name="connsiteY26" fmla="*/ 321945 h 623887"/>
                  <a:gd name="connsiteX27" fmla="*/ 250508 w 257175"/>
                  <a:gd name="connsiteY27" fmla="*/ 268605 h 623887"/>
                  <a:gd name="connsiteX28" fmla="*/ 257175 w 257175"/>
                  <a:gd name="connsiteY28" fmla="*/ 92392 h 623887"/>
                  <a:gd name="connsiteX29" fmla="*/ 167640 w 257175"/>
                  <a:gd name="connsiteY29" fmla="*/ 0 h 62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175" h="623887">
                    <a:moveTo>
                      <a:pt x="167640" y="0"/>
                    </a:moveTo>
                    <a:lnTo>
                      <a:pt x="33338" y="0"/>
                    </a:lnTo>
                    <a:cubicBezTo>
                      <a:pt x="26670" y="0"/>
                      <a:pt x="21908" y="4763"/>
                      <a:pt x="21908" y="11430"/>
                    </a:cubicBezTo>
                    <a:cubicBezTo>
                      <a:pt x="21908" y="18097"/>
                      <a:pt x="26670" y="22860"/>
                      <a:pt x="33338" y="22860"/>
                    </a:cubicBezTo>
                    <a:lnTo>
                      <a:pt x="165735" y="22860"/>
                    </a:lnTo>
                    <a:cubicBezTo>
                      <a:pt x="203835" y="22860"/>
                      <a:pt x="234315" y="53340"/>
                      <a:pt x="234315" y="91440"/>
                    </a:cubicBezTo>
                    <a:lnTo>
                      <a:pt x="227647" y="267653"/>
                    </a:lnTo>
                    <a:cubicBezTo>
                      <a:pt x="226695" y="281940"/>
                      <a:pt x="222885" y="296228"/>
                      <a:pt x="214313" y="308610"/>
                    </a:cubicBezTo>
                    <a:cubicBezTo>
                      <a:pt x="205740" y="320992"/>
                      <a:pt x="194310" y="330517"/>
                      <a:pt x="180975" y="336232"/>
                    </a:cubicBezTo>
                    <a:cubicBezTo>
                      <a:pt x="177165" y="338138"/>
                      <a:pt x="174308" y="341947"/>
                      <a:pt x="174308" y="345757"/>
                    </a:cubicBezTo>
                    <a:lnTo>
                      <a:pt x="162877" y="570547"/>
                    </a:lnTo>
                    <a:cubicBezTo>
                      <a:pt x="161925" y="586740"/>
                      <a:pt x="148590" y="600075"/>
                      <a:pt x="131445" y="600075"/>
                    </a:cubicBezTo>
                    <a:lnTo>
                      <a:pt x="65723" y="600075"/>
                    </a:lnTo>
                    <a:cubicBezTo>
                      <a:pt x="49530" y="600075"/>
                      <a:pt x="35242" y="586740"/>
                      <a:pt x="34290" y="570547"/>
                    </a:cubicBezTo>
                    <a:lnTo>
                      <a:pt x="22860" y="345757"/>
                    </a:lnTo>
                    <a:cubicBezTo>
                      <a:pt x="22860" y="342900"/>
                      <a:pt x="20955" y="340042"/>
                      <a:pt x="19050" y="338138"/>
                    </a:cubicBezTo>
                    <a:cubicBezTo>
                      <a:pt x="17145" y="336232"/>
                      <a:pt x="14288" y="335280"/>
                      <a:pt x="11430" y="335280"/>
                    </a:cubicBezTo>
                    <a:lnTo>
                      <a:pt x="10477" y="335280"/>
                    </a:lnTo>
                    <a:cubicBezTo>
                      <a:pt x="7620" y="335280"/>
                      <a:pt x="4763" y="337185"/>
                      <a:pt x="2858" y="339090"/>
                    </a:cubicBezTo>
                    <a:cubicBezTo>
                      <a:pt x="952" y="340995"/>
                      <a:pt x="0" y="344805"/>
                      <a:pt x="0" y="347663"/>
                    </a:cubicBezTo>
                    <a:lnTo>
                      <a:pt x="11430" y="572452"/>
                    </a:lnTo>
                    <a:cubicBezTo>
                      <a:pt x="13335" y="601027"/>
                      <a:pt x="37148" y="623888"/>
                      <a:pt x="65723" y="623888"/>
                    </a:cubicBezTo>
                    <a:lnTo>
                      <a:pt x="131445" y="623888"/>
                    </a:lnTo>
                    <a:cubicBezTo>
                      <a:pt x="160020" y="623888"/>
                      <a:pt x="183833" y="601027"/>
                      <a:pt x="185738" y="572452"/>
                    </a:cubicBezTo>
                    <a:lnTo>
                      <a:pt x="197167" y="354330"/>
                    </a:lnTo>
                    <a:lnTo>
                      <a:pt x="198120" y="354330"/>
                    </a:lnTo>
                    <a:cubicBezTo>
                      <a:pt x="212408" y="346710"/>
                      <a:pt x="224790" y="335280"/>
                      <a:pt x="233363" y="321945"/>
                    </a:cubicBezTo>
                    <a:cubicBezTo>
                      <a:pt x="243840" y="305753"/>
                      <a:pt x="249555" y="287655"/>
                      <a:pt x="250508" y="268605"/>
                    </a:cubicBezTo>
                    <a:lnTo>
                      <a:pt x="257175" y="92392"/>
                    </a:lnTo>
                    <a:cubicBezTo>
                      <a:pt x="257175" y="42863"/>
                      <a:pt x="217170" y="952"/>
                      <a:pt x="167640" y="0"/>
                    </a:cubicBezTo>
                    <a:close/>
                  </a:path>
                </a:pathLst>
              </a:custGeom>
              <a:grpFill/>
              <a:ln w="9525" cap="flat">
                <a:noFill/>
                <a:prstDash val="solid"/>
                <a:miter/>
              </a:ln>
            </p:spPr>
            <p:txBody>
              <a:bodyPr rtlCol="0" anchor="ctr"/>
              <a:lstStyle/>
              <a:p>
                <a:endParaRPr lang="en-US"/>
              </a:p>
            </p:txBody>
          </p:sp>
          <p:sp>
            <p:nvSpPr>
              <p:cNvPr id="21" name="Freeform 105">
                <a:extLst>
                  <a:ext uri="{FF2B5EF4-FFF2-40B4-BE49-F238E27FC236}">
                    <a16:creationId xmlns:a16="http://schemas.microsoft.com/office/drawing/2014/main" id="{F4921132-4CFD-8F48-2B29-BE02449202C4}"/>
                  </a:ext>
                </a:extLst>
              </p:cNvPr>
              <p:cNvSpPr/>
              <p:nvPr/>
            </p:nvSpPr>
            <p:spPr>
              <a:xfrm>
                <a:off x="5926454" y="3211829"/>
                <a:ext cx="339090" cy="671512"/>
              </a:xfrm>
              <a:custGeom>
                <a:avLst/>
                <a:gdLst>
                  <a:gd name="connsiteX0" fmla="*/ 339090 w 339090"/>
                  <a:gd name="connsiteY0" fmla="*/ 98108 h 671512"/>
                  <a:gd name="connsiteX1" fmla="*/ 339090 w 339090"/>
                  <a:gd name="connsiteY1" fmla="*/ 95250 h 671512"/>
                  <a:gd name="connsiteX2" fmla="*/ 240983 w 339090"/>
                  <a:gd name="connsiteY2" fmla="*/ 0 h 671512"/>
                  <a:gd name="connsiteX3" fmla="*/ 98108 w 339090"/>
                  <a:gd name="connsiteY3" fmla="*/ 0 h 671512"/>
                  <a:gd name="connsiteX4" fmla="*/ 0 w 339090"/>
                  <a:gd name="connsiteY4" fmla="*/ 99060 h 671512"/>
                  <a:gd name="connsiteX5" fmla="*/ 6668 w 339090"/>
                  <a:gd name="connsiteY5" fmla="*/ 288608 h 671512"/>
                  <a:gd name="connsiteX6" fmla="*/ 24765 w 339090"/>
                  <a:gd name="connsiteY6" fmla="*/ 345758 h 671512"/>
                  <a:gd name="connsiteX7" fmla="*/ 62865 w 339090"/>
                  <a:gd name="connsiteY7" fmla="*/ 381000 h 671512"/>
                  <a:gd name="connsiteX8" fmla="*/ 63818 w 339090"/>
                  <a:gd name="connsiteY8" fmla="*/ 381000 h 671512"/>
                  <a:gd name="connsiteX9" fmla="*/ 76200 w 339090"/>
                  <a:gd name="connsiteY9" fmla="*/ 617220 h 671512"/>
                  <a:gd name="connsiteX10" fmla="*/ 133350 w 339090"/>
                  <a:gd name="connsiteY10" fmla="*/ 671513 h 671512"/>
                  <a:gd name="connsiteX11" fmla="*/ 203835 w 339090"/>
                  <a:gd name="connsiteY11" fmla="*/ 671513 h 671512"/>
                  <a:gd name="connsiteX12" fmla="*/ 260985 w 339090"/>
                  <a:gd name="connsiteY12" fmla="*/ 617220 h 671512"/>
                  <a:gd name="connsiteX13" fmla="*/ 273368 w 339090"/>
                  <a:gd name="connsiteY13" fmla="*/ 381000 h 671512"/>
                  <a:gd name="connsiteX14" fmla="*/ 274320 w 339090"/>
                  <a:gd name="connsiteY14" fmla="*/ 381000 h 671512"/>
                  <a:gd name="connsiteX15" fmla="*/ 312420 w 339090"/>
                  <a:gd name="connsiteY15" fmla="*/ 345758 h 671512"/>
                  <a:gd name="connsiteX16" fmla="*/ 330518 w 339090"/>
                  <a:gd name="connsiteY16" fmla="*/ 288608 h 671512"/>
                  <a:gd name="connsiteX17" fmla="*/ 339090 w 339090"/>
                  <a:gd name="connsiteY17" fmla="*/ 98108 h 671512"/>
                  <a:gd name="connsiteX18" fmla="*/ 339090 w 339090"/>
                  <a:gd name="connsiteY18" fmla="*/ 98108 h 671512"/>
                  <a:gd name="connsiteX19" fmla="*/ 309563 w 339090"/>
                  <a:gd name="connsiteY19" fmla="*/ 283845 h 671512"/>
                  <a:gd name="connsiteX20" fmla="*/ 309563 w 339090"/>
                  <a:gd name="connsiteY20" fmla="*/ 286703 h 671512"/>
                  <a:gd name="connsiteX21" fmla="*/ 295275 w 339090"/>
                  <a:gd name="connsiteY21" fmla="*/ 331470 h 671512"/>
                  <a:gd name="connsiteX22" fmla="*/ 259080 w 339090"/>
                  <a:gd name="connsiteY22" fmla="*/ 361950 h 671512"/>
                  <a:gd name="connsiteX23" fmla="*/ 252413 w 339090"/>
                  <a:gd name="connsiteY23" fmla="*/ 371475 h 671512"/>
                  <a:gd name="connsiteX24" fmla="*/ 240030 w 339090"/>
                  <a:gd name="connsiteY24" fmla="*/ 614363 h 671512"/>
                  <a:gd name="connsiteX25" fmla="*/ 205740 w 339090"/>
                  <a:gd name="connsiteY25" fmla="*/ 646748 h 671512"/>
                  <a:gd name="connsiteX26" fmla="*/ 135255 w 339090"/>
                  <a:gd name="connsiteY26" fmla="*/ 646748 h 671512"/>
                  <a:gd name="connsiteX27" fmla="*/ 100965 w 339090"/>
                  <a:gd name="connsiteY27" fmla="*/ 614363 h 671512"/>
                  <a:gd name="connsiteX28" fmla="*/ 88583 w 339090"/>
                  <a:gd name="connsiteY28" fmla="*/ 371475 h 671512"/>
                  <a:gd name="connsiteX29" fmla="*/ 81915 w 339090"/>
                  <a:gd name="connsiteY29" fmla="*/ 361950 h 671512"/>
                  <a:gd name="connsiteX30" fmla="*/ 45720 w 339090"/>
                  <a:gd name="connsiteY30" fmla="*/ 331470 h 671512"/>
                  <a:gd name="connsiteX31" fmla="*/ 31433 w 339090"/>
                  <a:gd name="connsiteY31" fmla="*/ 286703 h 671512"/>
                  <a:gd name="connsiteX32" fmla="*/ 24765 w 339090"/>
                  <a:gd name="connsiteY32" fmla="*/ 97155 h 671512"/>
                  <a:gd name="connsiteX33" fmla="*/ 100013 w 339090"/>
                  <a:gd name="connsiteY33" fmla="*/ 21908 h 671512"/>
                  <a:gd name="connsiteX34" fmla="*/ 242888 w 339090"/>
                  <a:gd name="connsiteY34" fmla="*/ 21908 h 671512"/>
                  <a:gd name="connsiteX35" fmla="*/ 318135 w 339090"/>
                  <a:gd name="connsiteY35" fmla="*/ 97155 h 671512"/>
                  <a:gd name="connsiteX36" fmla="*/ 309563 w 339090"/>
                  <a:gd name="connsiteY36" fmla="*/ 283845 h 67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9090" h="671512">
                    <a:moveTo>
                      <a:pt x="339090" y="98108"/>
                    </a:moveTo>
                    <a:lnTo>
                      <a:pt x="339090" y="95250"/>
                    </a:lnTo>
                    <a:cubicBezTo>
                      <a:pt x="337185" y="41910"/>
                      <a:pt x="294323" y="0"/>
                      <a:pt x="240983" y="0"/>
                    </a:cubicBezTo>
                    <a:lnTo>
                      <a:pt x="98108" y="0"/>
                    </a:lnTo>
                    <a:cubicBezTo>
                      <a:pt x="43815" y="0"/>
                      <a:pt x="0" y="44768"/>
                      <a:pt x="0" y="99060"/>
                    </a:cubicBezTo>
                    <a:lnTo>
                      <a:pt x="6668" y="288608"/>
                    </a:lnTo>
                    <a:cubicBezTo>
                      <a:pt x="7620" y="308610"/>
                      <a:pt x="14288" y="328613"/>
                      <a:pt x="24765" y="345758"/>
                    </a:cubicBezTo>
                    <a:cubicBezTo>
                      <a:pt x="34290" y="360045"/>
                      <a:pt x="47625" y="372428"/>
                      <a:pt x="62865" y="381000"/>
                    </a:cubicBezTo>
                    <a:lnTo>
                      <a:pt x="63818" y="381000"/>
                    </a:lnTo>
                    <a:lnTo>
                      <a:pt x="76200" y="617220"/>
                    </a:lnTo>
                    <a:cubicBezTo>
                      <a:pt x="78105" y="647700"/>
                      <a:pt x="102870" y="671513"/>
                      <a:pt x="133350" y="671513"/>
                    </a:cubicBezTo>
                    <a:lnTo>
                      <a:pt x="203835" y="671513"/>
                    </a:lnTo>
                    <a:cubicBezTo>
                      <a:pt x="234315" y="671513"/>
                      <a:pt x="260033" y="647700"/>
                      <a:pt x="260985" y="617220"/>
                    </a:cubicBezTo>
                    <a:lnTo>
                      <a:pt x="273368" y="381000"/>
                    </a:lnTo>
                    <a:lnTo>
                      <a:pt x="274320" y="381000"/>
                    </a:lnTo>
                    <a:cubicBezTo>
                      <a:pt x="289560" y="372428"/>
                      <a:pt x="302895" y="360045"/>
                      <a:pt x="312420" y="345758"/>
                    </a:cubicBezTo>
                    <a:cubicBezTo>
                      <a:pt x="323850" y="328613"/>
                      <a:pt x="330518" y="309563"/>
                      <a:pt x="330518" y="288608"/>
                    </a:cubicBezTo>
                    <a:lnTo>
                      <a:pt x="339090" y="98108"/>
                    </a:lnTo>
                    <a:lnTo>
                      <a:pt x="339090" y="98108"/>
                    </a:lnTo>
                    <a:close/>
                    <a:moveTo>
                      <a:pt x="309563" y="283845"/>
                    </a:moveTo>
                    <a:lnTo>
                      <a:pt x="309563" y="286703"/>
                    </a:lnTo>
                    <a:cubicBezTo>
                      <a:pt x="308610" y="302895"/>
                      <a:pt x="303848" y="318135"/>
                      <a:pt x="295275" y="331470"/>
                    </a:cubicBezTo>
                    <a:cubicBezTo>
                      <a:pt x="286703" y="344805"/>
                      <a:pt x="273368" y="355283"/>
                      <a:pt x="259080" y="361950"/>
                    </a:cubicBezTo>
                    <a:cubicBezTo>
                      <a:pt x="255270" y="363855"/>
                      <a:pt x="252413" y="367665"/>
                      <a:pt x="252413" y="371475"/>
                    </a:cubicBezTo>
                    <a:lnTo>
                      <a:pt x="240030" y="614363"/>
                    </a:lnTo>
                    <a:cubicBezTo>
                      <a:pt x="239078" y="632460"/>
                      <a:pt x="223838" y="646748"/>
                      <a:pt x="205740" y="646748"/>
                    </a:cubicBezTo>
                    <a:lnTo>
                      <a:pt x="135255" y="646748"/>
                    </a:lnTo>
                    <a:cubicBezTo>
                      <a:pt x="117158" y="646748"/>
                      <a:pt x="101918" y="632460"/>
                      <a:pt x="100965" y="614363"/>
                    </a:cubicBezTo>
                    <a:lnTo>
                      <a:pt x="88583" y="371475"/>
                    </a:lnTo>
                    <a:cubicBezTo>
                      <a:pt x="88583" y="367665"/>
                      <a:pt x="85725" y="362903"/>
                      <a:pt x="81915" y="361950"/>
                    </a:cubicBezTo>
                    <a:cubicBezTo>
                      <a:pt x="67628" y="355283"/>
                      <a:pt x="55245" y="344805"/>
                      <a:pt x="45720" y="331470"/>
                    </a:cubicBezTo>
                    <a:cubicBezTo>
                      <a:pt x="37148" y="318135"/>
                      <a:pt x="31433" y="302895"/>
                      <a:pt x="31433" y="286703"/>
                    </a:cubicBezTo>
                    <a:lnTo>
                      <a:pt x="24765" y="97155"/>
                    </a:lnTo>
                    <a:cubicBezTo>
                      <a:pt x="24765" y="55245"/>
                      <a:pt x="59055" y="21908"/>
                      <a:pt x="100013" y="21908"/>
                    </a:cubicBezTo>
                    <a:lnTo>
                      <a:pt x="242888" y="21908"/>
                    </a:lnTo>
                    <a:cubicBezTo>
                      <a:pt x="283845" y="21908"/>
                      <a:pt x="318135" y="55245"/>
                      <a:pt x="318135" y="97155"/>
                    </a:cubicBezTo>
                    <a:lnTo>
                      <a:pt x="309563" y="283845"/>
                    </a:lnTo>
                    <a:close/>
                  </a:path>
                </a:pathLst>
              </a:custGeom>
              <a:grpFill/>
              <a:ln w="9525" cap="flat">
                <a:noFill/>
                <a:prstDash val="solid"/>
                <a:miter/>
              </a:ln>
            </p:spPr>
            <p:txBody>
              <a:bodyPr rtlCol="0" anchor="ctr"/>
              <a:lstStyle/>
              <a:p>
                <a:endParaRPr lang="en-US"/>
              </a:p>
            </p:txBody>
          </p:sp>
          <p:sp>
            <p:nvSpPr>
              <p:cNvPr id="22" name="Freeform 106">
                <a:extLst>
                  <a:ext uri="{FF2B5EF4-FFF2-40B4-BE49-F238E27FC236}">
                    <a16:creationId xmlns:a16="http://schemas.microsoft.com/office/drawing/2014/main" id="{29D4C8AD-56B8-1575-531E-5979086E018E}"/>
                  </a:ext>
                </a:extLst>
              </p:cNvPr>
              <p:cNvSpPr/>
              <p:nvPr/>
            </p:nvSpPr>
            <p:spPr>
              <a:xfrm>
                <a:off x="5990272" y="2973705"/>
                <a:ext cx="211454" cy="211455"/>
              </a:xfrm>
              <a:custGeom>
                <a:avLst/>
                <a:gdLst>
                  <a:gd name="connsiteX0" fmla="*/ 105727 w 211454"/>
                  <a:gd name="connsiteY0" fmla="*/ 211455 h 211455"/>
                  <a:gd name="connsiteX1" fmla="*/ 211455 w 211454"/>
                  <a:gd name="connsiteY1" fmla="*/ 105727 h 211455"/>
                  <a:gd name="connsiteX2" fmla="*/ 105727 w 211454"/>
                  <a:gd name="connsiteY2" fmla="*/ 0 h 211455"/>
                  <a:gd name="connsiteX3" fmla="*/ 0 w 211454"/>
                  <a:gd name="connsiteY3" fmla="*/ 105727 h 211455"/>
                  <a:gd name="connsiteX4" fmla="*/ 105727 w 211454"/>
                  <a:gd name="connsiteY4" fmla="*/ 211455 h 211455"/>
                  <a:gd name="connsiteX5" fmla="*/ 105727 w 211454"/>
                  <a:gd name="connsiteY5" fmla="*/ 23813 h 211455"/>
                  <a:gd name="connsiteX6" fmla="*/ 188595 w 211454"/>
                  <a:gd name="connsiteY6" fmla="*/ 106680 h 211455"/>
                  <a:gd name="connsiteX7" fmla="*/ 105727 w 211454"/>
                  <a:gd name="connsiteY7" fmla="*/ 188595 h 211455"/>
                  <a:gd name="connsiteX8" fmla="*/ 22860 w 211454"/>
                  <a:gd name="connsiteY8" fmla="*/ 105727 h 211455"/>
                  <a:gd name="connsiteX9" fmla="*/ 105727 w 211454"/>
                  <a:gd name="connsiteY9" fmla="*/ 23813 h 21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54" h="211455">
                    <a:moveTo>
                      <a:pt x="105727" y="211455"/>
                    </a:moveTo>
                    <a:cubicBezTo>
                      <a:pt x="163830" y="211455"/>
                      <a:pt x="211455" y="163830"/>
                      <a:pt x="211455" y="105727"/>
                    </a:cubicBezTo>
                    <a:cubicBezTo>
                      <a:pt x="211455" y="47625"/>
                      <a:pt x="163830" y="0"/>
                      <a:pt x="105727" y="0"/>
                    </a:cubicBezTo>
                    <a:cubicBezTo>
                      <a:pt x="47625" y="0"/>
                      <a:pt x="0" y="47625"/>
                      <a:pt x="0" y="105727"/>
                    </a:cubicBezTo>
                    <a:cubicBezTo>
                      <a:pt x="0" y="164783"/>
                      <a:pt x="47625" y="211455"/>
                      <a:pt x="105727" y="211455"/>
                    </a:cubicBezTo>
                    <a:close/>
                    <a:moveTo>
                      <a:pt x="105727" y="23813"/>
                    </a:moveTo>
                    <a:cubicBezTo>
                      <a:pt x="151448" y="23813"/>
                      <a:pt x="188595" y="60960"/>
                      <a:pt x="188595" y="106680"/>
                    </a:cubicBezTo>
                    <a:cubicBezTo>
                      <a:pt x="188595" y="152400"/>
                      <a:pt x="151448" y="188595"/>
                      <a:pt x="105727" y="188595"/>
                    </a:cubicBezTo>
                    <a:cubicBezTo>
                      <a:pt x="60007" y="188595"/>
                      <a:pt x="22860" y="151447"/>
                      <a:pt x="22860" y="105727"/>
                    </a:cubicBezTo>
                    <a:cubicBezTo>
                      <a:pt x="22860" y="60007"/>
                      <a:pt x="60007" y="23813"/>
                      <a:pt x="105727" y="23813"/>
                    </a:cubicBezTo>
                    <a:close/>
                  </a:path>
                </a:pathLst>
              </a:custGeom>
              <a:grpFill/>
              <a:ln w="9525" cap="flat">
                <a:noFill/>
                <a:prstDash val="solid"/>
                <a:miter/>
              </a:ln>
            </p:spPr>
            <p:txBody>
              <a:bodyPr rtlCol="0" anchor="ctr"/>
              <a:lstStyle/>
              <a:p>
                <a:endParaRPr lang="en-US"/>
              </a:p>
            </p:txBody>
          </p:sp>
          <p:sp>
            <p:nvSpPr>
              <p:cNvPr id="23" name="Freeform 108">
                <a:extLst>
                  <a:ext uri="{FF2B5EF4-FFF2-40B4-BE49-F238E27FC236}">
                    <a16:creationId xmlns:a16="http://schemas.microsoft.com/office/drawing/2014/main" id="{2E881A38-48A8-80D7-717A-E2D8A5266C44}"/>
                  </a:ext>
                </a:extLst>
              </p:cNvPr>
              <p:cNvSpPr/>
              <p:nvPr/>
            </p:nvSpPr>
            <p:spPr>
              <a:xfrm>
                <a:off x="5731192" y="3005137"/>
                <a:ext cx="198119" cy="198120"/>
              </a:xfrm>
              <a:custGeom>
                <a:avLst/>
                <a:gdLst>
                  <a:gd name="connsiteX0" fmla="*/ 99060 w 198119"/>
                  <a:gd name="connsiteY0" fmla="*/ 198120 h 198120"/>
                  <a:gd name="connsiteX1" fmla="*/ 198120 w 198119"/>
                  <a:gd name="connsiteY1" fmla="*/ 99060 h 198120"/>
                  <a:gd name="connsiteX2" fmla="*/ 99060 w 198119"/>
                  <a:gd name="connsiteY2" fmla="*/ 0 h 198120"/>
                  <a:gd name="connsiteX3" fmla="*/ 0 w 198119"/>
                  <a:gd name="connsiteY3" fmla="*/ 100013 h 198120"/>
                  <a:gd name="connsiteX4" fmla="*/ 99060 w 198119"/>
                  <a:gd name="connsiteY4" fmla="*/ 198120 h 198120"/>
                  <a:gd name="connsiteX5" fmla="*/ 99060 w 198119"/>
                  <a:gd name="connsiteY5" fmla="*/ 23813 h 198120"/>
                  <a:gd name="connsiteX6" fmla="*/ 174308 w 198119"/>
                  <a:gd name="connsiteY6" fmla="*/ 99060 h 198120"/>
                  <a:gd name="connsiteX7" fmla="*/ 99060 w 198119"/>
                  <a:gd name="connsiteY7" fmla="*/ 174308 h 198120"/>
                  <a:gd name="connsiteX8" fmla="*/ 23813 w 198119"/>
                  <a:gd name="connsiteY8" fmla="*/ 99060 h 198120"/>
                  <a:gd name="connsiteX9" fmla="*/ 99060 w 198119"/>
                  <a:gd name="connsiteY9" fmla="*/ 23813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119" h="198120">
                    <a:moveTo>
                      <a:pt x="99060" y="198120"/>
                    </a:moveTo>
                    <a:cubicBezTo>
                      <a:pt x="153353" y="198120"/>
                      <a:pt x="198120" y="153352"/>
                      <a:pt x="198120" y="99060"/>
                    </a:cubicBezTo>
                    <a:cubicBezTo>
                      <a:pt x="198120" y="44768"/>
                      <a:pt x="153353" y="0"/>
                      <a:pt x="99060" y="0"/>
                    </a:cubicBezTo>
                    <a:cubicBezTo>
                      <a:pt x="44768" y="0"/>
                      <a:pt x="0" y="44768"/>
                      <a:pt x="0" y="100013"/>
                    </a:cubicBezTo>
                    <a:cubicBezTo>
                      <a:pt x="0" y="155258"/>
                      <a:pt x="44768" y="198120"/>
                      <a:pt x="99060" y="198120"/>
                    </a:cubicBezTo>
                    <a:close/>
                    <a:moveTo>
                      <a:pt x="99060" y="23813"/>
                    </a:moveTo>
                    <a:cubicBezTo>
                      <a:pt x="140970" y="23813"/>
                      <a:pt x="174308" y="58102"/>
                      <a:pt x="174308" y="99060"/>
                    </a:cubicBezTo>
                    <a:cubicBezTo>
                      <a:pt x="174308" y="140018"/>
                      <a:pt x="140018" y="174308"/>
                      <a:pt x="99060" y="174308"/>
                    </a:cubicBezTo>
                    <a:cubicBezTo>
                      <a:pt x="58102" y="174308"/>
                      <a:pt x="23813" y="140018"/>
                      <a:pt x="23813" y="99060"/>
                    </a:cubicBezTo>
                    <a:cubicBezTo>
                      <a:pt x="23813" y="58102"/>
                      <a:pt x="57150" y="23813"/>
                      <a:pt x="99060" y="23813"/>
                    </a:cubicBezTo>
                    <a:close/>
                  </a:path>
                </a:pathLst>
              </a:custGeom>
              <a:grpFill/>
              <a:ln w="9525" cap="flat">
                <a:noFill/>
                <a:prstDash val="solid"/>
                <a:miter/>
              </a:ln>
            </p:spPr>
            <p:txBody>
              <a:bodyPr rtlCol="0" anchor="ctr"/>
              <a:lstStyle/>
              <a:p>
                <a:endParaRPr lang="en-US"/>
              </a:p>
            </p:txBody>
          </p:sp>
          <p:sp>
            <p:nvSpPr>
              <p:cNvPr id="24" name="Freeform 110">
                <a:extLst>
                  <a:ext uri="{FF2B5EF4-FFF2-40B4-BE49-F238E27FC236}">
                    <a16:creationId xmlns:a16="http://schemas.microsoft.com/office/drawing/2014/main" id="{2E37961A-1972-CD26-4B66-475B672D502B}"/>
                  </a:ext>
                </a:extLst>
              </p:cNvPr>
              <p:cNvSpPr/>
              <p:nvPr/>
            </p:nvSpPr>
            <p:spPr>
              <a:xfrm>
                <a:off x="6262687" y="3005137"/>
                <a:ext cx="198120" cy="198120"/>
              </a:xfrm>
              <a:custGeom>
                <a:avLst/>
                <a:gdLst>
                  <a:gd name="connsiteX0" fmla="*/ 99060 w 198120"/>
                  <a:gd name="connsiteY0" fmla="*/ 198120 h 198120"/>
                  <a:gd name="connsiteX1" fmla="*/ 198120 w 198120"/>
                  <a:gd name="connsiteY1" fmla="*/ 99060 h 198120"/>
                  <a:gd name="connsiteX2" fmla="*/ 99060 w 198120"/>
                  <a:gd name="connsiteY2" fmla="*/ 0 h 198120"/>
                  <a:gd name="connsiteX3" fmla="*/ 0 w 198120"/>
                  <a:gd name="connsiteY3" fmla="*/ 99060 h 198120"/>
                  <a:gd name="connsiteX4" fmla="*/ 99060 w 198120"/>
                  <a:gd name="connsiteY4" fmla="*/ 198120 h 198120"/>
                  <a:gd name="connsiteX5" fmla="*/ 99060 w 198120"/>
                  <a:gd name="connsiteY5" fmla="*/ 23813 h 198120"/>
                  <a:gd name="connsiteX6" fmla="*/ 174308 w 198120"/>
                  <a:gd name="connsiteY6" fmla="*/ 99060 h 198120"/>
                  <a:gd name="connsiteX7" fmla="*/ 99060 w 198120"/>
                  <a:gd name="connsiteY7" fmla="*/ 174308 h 198120"/>
                  <a:gd name="connsiteX8" fmla="*/ 23813 w 198120"/>
                  <a:gd name="connsiteY8" fmla="*/ 99060 h 198120"/>
                  <a:gd name="connsiteX9" fmla="*/ 99060 w 198120"/>
                  <a:gd name="connsiteY9" fmla="*/ 23813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120" h="198120">
                    <a:moveTo>
                      <a:pt x="99060" y="198120"/>
                    </a:moveTo>
                    <a:cubicBezTo>
                      <a:pt x="153352" y="198120"/>
                      <a:pt x="198120" y="153352"/>
                      <a:pt x="198120" y="99060"/>
                    </a:cubicBezTo>
                    <a:cubicBezTo>
                      <a:pt x="198120" y="44768"/>
                      <a:pt x="153352" y="0"/>
                      <a:pt x="99060" y="0"/>
                    </a:cubicBezTo>
                    <a:cubicBezTo>
                      <a:pt x="44767" y="0"/>
                      <a:pt x="0" y="44768"/>
                      <a:pt x="0" y="99060"/>
                    </a:cubicBezTo>
                    <a:cubicBezTo>
                      <a:pt x="0" y="153352"/>
                      <a:pt x="44767" y="198120"/>
                      <a:pt x="99060" y="198120"/>
                    </a:cubicBezTo>
                    <a:close/>
                    <a:moveTo>
                      <a:pt x="99060" y="23813"/>
                    </a:moveTo>
                    <a:cubicBezTo>
                      <a:pt x="140970" y="23813"/>
                      <a:pt x="174308" y="58102"/>
                      <a:pt x="174308" y="99060"/>
                    </a:cubicBezTo>
                    <a:cubicBezTo>
                      <a:pt x="174308" y="140018"/>
                      <a:pt x="140017" y="174308"/>
                      <a:pt x="99060" y="174308"/>
                    </a:cubicBezTo>
                    <a:cubicBezTo>
                      <a:pt x="57150" y="174308"/>
                      <a:pt x="23813" y="140018"/>
                      <a:pt x="23813" y="99060"/>
                    </a:cubicBezTo>
                    <a:cubicBezTo>
                      <a:pt x="23813" y="58102"/>
                      <a:pt x="57150" y="23813"/>
                      <a:pt x="99060" y="23813"/>
                    </a:cubicBezTo>
                    <a:close/>
                  </a:path>
                </a:pathLst>
              </a:custGeom>
              <a:grpFill/>
              <a:ln w="9525" cap="flat">
                <a:noFill/>
                <a:prstDash val="solid"/>
                <a:miter/>
              </a:ln>
            </p:spPr>
            <p:txBody>
              <a:bodyPr rtlCol="0" anchor="ctr"/>
              <a:lstStyle/>
              <a:p>
                <a:endParaRPr lang="en-US"/>
              </a:p>
            </p:txBody>
          </p:sp>
          <p:sp>
            <p:nvSpPr>
              <p:cNvPr id="25" name="Freeform 111">
                <a:extLst>
                  <a:ext uri="{FF2B5EF4-FFF2-40B4-BE49-F238E27FC236}">
                    <a16:creationId xmlns:a16="http://schemas.microsoft.com/office/drawing/2014/main" id="{6D4FDB34-93FF-4683-59E1-3ED3A430CB26}"/>
                  </a:ext>
                </a:extLst>
              </p:cNvPr>
              <p:cNvSpPr/>
              <p:nvPr/>
            </p:nvSpPr>
            <p:spPr>
              <a:xfrm>
                <a:off x="5671185" y="3228975"/>
                <a:ext cx="258127" cy="622934"/>
              </a:xfrm>
              <a:custGeom>
                <a:avLst/>
                <a:gdLst>
                  <a:gd name="connsiteX0" fmla="*/ 246698 w 258127"/>
                  <a:gd name="connsiteY0" fmla="*/ 334328 h 622934"/>
                  <a:gd name="connsiteX1" fmla="*/ 244792 w 258127"/>
                  <a:gd name="connsiteY1" fmla="*/ 334328 h 622934"/>
                  <a:gd name="connsiteX2" fmla="*/ 234315 w 258127"/>
                  <a:gd name="connsiteY2" fmla="*/ 344805 h 622934"/>
                  <a:gd name="connsiteX3" fmla="*/ 222885 w 258127"/>
                  <a:gd name="connsiteY3" fmla="*/ 569595 h 622934"/>
                  <a:gd name="connsiteX4" fmla="*/ 191452 w 258127"/>
                  <a:gd name="connsiteY4" fmla="*/ 599122 h 622934"/>
                  <a:gd name="connsiteX5" fmla="*/ 125730 w 258127"/>
                  <a:gd name="connsiteY5" fmla="*/ 599122 h 622934"/>
                  <a:gd name="connsiteX6" fmla="*/ 94297 w 258127"/>
                  <a:gd name="connsiteY6" fmla="*/ 569595 h 622934"/>
                  <a:gd name="connsiteX7" fmla="*/ 82867 w 258127"/>
                  <a:gd name="connsiteY7" fmla="*/ 344805 h 622934"/>
                  <a:gd name="connsiteX8" fmla="*/ 76200 w 258127"/>
                  <a:gd name="connsiteY8" fmla="*/ 335280 h 622934"/>
                  <a:gd name="connsiteX9" fmla="*/ 42863 w 258127"/>
                  <a:gd name="connsiteY9" fmla="*/ 307658 h 622934"/>
                  <a:gd name="connsiteX10" fmla="*/ 29527 w 258127"/>
                  <a:gd name="connsiteY10" fmla="*/ 266700 h 622934"/>
                  <a:gd name="connsiteX11" fmla="*/ 22860 w 258127"/>
                  <a:gd name="connsiteY11" fmla="*/ 91440 h 622934"/>
                  <a:gd name="connsiteX12" fmla="*/ 91440 w 258127"/>
                  <a:gd name="connsiteY12" fmla="*/ 22860 h 622934"/>
                  <a:gd name="connsiteX13" fmla="*/ 224790 w 258127"/>
                  <a:gd name="connsiteY13" fmla="*/ 22860 h 622934"/>
                  <a:gd name="connsiteX14" fmla="*/ 236220 w 258127"/>
                  <a:gd name="connsiteY14" fmla="*/ 11430 h 622934"/>
                  <a:gd name="connsiteX15" fmla="*/ 224790 w 258127"/>
                  <a:gd name="connsiteY15" fmla="*/ 0 h 622934"/>
                  <a:gd name="connsiteX16" fmla="*/ 92392 w 258127"/>
                  <a:gd name="connsiteY16" fmla="*/ 0 h 622934"/>
                  <a:gd name="connsiteX17" fmla="*/ 0 w 258127"/>
                  <a:gd name="connsiteY17" fmla="*/ 92392 h 622934"/>
                  <a:gd name="connsiteX18" fmla="*/ 7620 w 258127"/>
                  <a:gd name="connsiteY18" fmla="*/ 266700 h 622934"/>
                  <a:gd name="connsiteX19" fmla="*/ 24765 w 258127"/>
                  <a:gd name="connsiteY19" fmla="*/ 320040 h 622934"/>
                  <a:gd name="connsiteX20" fmla="*/ 60007 w 258127"/>
                  <a:gd name="connsiteY20" fmla="*/ 352425 h 622934"/>
                  <a:gd name="connsiteX21" fmla="*/ 60960 w 258127"/>
                  <a:gd name="connsiteY21" fmla="*/ 352425 h 622934"/>
                  <a:gd name="connsiteX22" fmla="*/ 72390 w 258127"/>
                  <a:gd name="connsiteY22" fmla="*/ 571500 h 622934"/>
                  <a:gd name="connsiteX23" fmla="*/ 126682 w 258127"/>
                  <a:gd name="connsiteY23" fmla="*/ 622935 h 622934"/>
                  <a:gd name="connsiteX24" fmla="*/ 192405 w 258127"/>
                  <a:gd name="connsiteY24" fmla="*/ 622935 h 622934"/>
                  <a:gd name="connsiteX25" fmla="*/ 246698 w 258127"/>
                  <a:gd name="connsiteY25" fmla="*/ 571500 h 622934"/>
                  <a:gd name="connsiteX26" fmla="*/ 258127 w 258127"/>
                  <a:gd name="connsiteY26" fmla="*/ 346710 h 622934"/>
                  <a:gd name="connsiteX27" fmla="*/ 255270 w 258127"/>
                  <a:gd name="connsiteY27" fmla="*/ 338138 h 622934"/>
                  <a:gd name="connsiteX28" fmla="*/ 246698 w 258127"/>
                  <a:gd name="connsiteY28" fmla="*/ 334328 h 62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8127" h="622934">
                    <a:moveTo>
                      <a:pt x="246698" y="334328"/>
                    </a:moveTo>
                    <a:lnTo>
                      <a:pt x="244792" y="334328"/>
                    </a:lnTo>
                    <a:cubicBezTo>
                      <a:pt x="239077" y="335280"/>
                      <a:pt x="235267" y="340042"/>
                      <a:pt x="234315" y="344805"/>
                    </a:cubicBezTo>
                    <a:lnTo>
                      <a:pt x="222885" y="569595"/>
                    </a:lnTo>
                    <a:cubicBezTo>
                      <a:pt x="221932" y="585788"/>
                      <a:pt x="208598" y="599122"/>
                      <a:pt x="191452" y="599122"/>
                    </a:cubicBezTo>
                    <a:lnTo>
                      <a:pt x="125730" y="599122"/>
                    </a:lnTo>
                    <a:cubicBezTo>
                      <a:pt x="109538" y="599122"/>
                      <a:pt x="95250" y="585788"/>
                      <a:pt x="94297" y="569595"/>
                    </a:cubicBezTo>
                    <a:lnTo>
                      <a:pt x="82867" y="344805"/>
                    </a:lnTo>
                    <a:cubicBezTo>
                      <a:pt x="82867" y="340995"/>
                      <a:pt x="80010" y="336233"/>
                      <a:pt x="76200" y="335280"/>
                    </a:cubicBezTo>
                    <a:cubicBezTo>
                      <a:pt x="62865" y="329565"/>
                      <a:pt x="51435" y="319088"/>
                      <a:pt x="42863" y="307658"/>
                    </a:cubicBezTo>
                    <a:cubicBezTo>
                      <a:pt x="34290" y="295275"/>
                      <a:pt x="30480" y="280988"/>
                      <a:pt x="29527" y="266700"/>
                    </a:cubicBezTo>
                    <a:lnTo>
                      <a:pt x="22860" y="91440"/>
                    </a:lnTo>
                    <a:cubicBezTo>
                      <a:pt x="22860" y="53340"/>
                      <a:pt x="54292" y="22860"/>
                      <a:pt x="91440" y="22860"/>
                    </a:cubicBezTo>
                    <a:lnTo>
                      <a:pt x="224790" y="22860"/>
                    </a:lnTo>
                    <a:cubicBezTo>
                      <a:pt x="231457" y="22860"/>
                      <a:pt x="236220" y="18098"/>
                      <a:pt x="236220" y="11430"/>
                    </a:cubicBezTo>
                    <a:cubicBezTo>
                      <a:pt x="236220" y="4763"/>
                      <a:pt x="231457" y="0"/>
                      <a:pt x="224790" y="0"/>
                    </a:cubicBezTo>
                    <a:lnTo>
                      <a:pt x="92392" y="0"/>
                    </a:lnTo>
                    <a:cubicBezTo>
                      <a:pt x="41910" y="0"/>
                      <a:pt x="0" y="41910"/>
                      <a:pt x="0" y="92392"/>
                    </a:cubicBezTo>
                    <a:lnTo>
                      <a:pt x="7620" y="266700"/>
                    </a:lnTo>
                    <a:cubicBezTo>
                      <a:pt x="8572" y="285750"/>
                      <a:pt x="14288" y="303848"/>
                      <a:pt x="24765" y="320040"/>
                    </a:cubicBezTo>
                    <a:cubicBezTo>
                      <a:pt x="33338" y="333375"/>
                      <a:pt x="45720" y="344805"/>
                      <a:pt x="60007" y="352425"/>
                    </a:cubicBezTo>
                    <a:lnTo>
                      <a:pt x="60960" y="352425"/>
                    </a:lnTo>
                    <a:lnTo>
                      <a:pt x="72390" y="571500"/>
                    </a:lnTo>
                    <a:cubicBezTo>
                      <a:pt x="74295" y="600075"/>
                      <a:pt x="98107" y="622935"/>
                      <a:pt x="126682" y="622935"/>
                    </a:cubicBezTo>
                    <a:lnTo>
                      <a:pt x="192405" y="622935"/>
                    </a:lnTo>
                    <a:cubicBezTo>
                      <a:pt x="220980" y="622935"/>
                      <a:pt x="244792" y="600075"/>
                      <a:pt x="246698" y="571500"/>
                    </a:cubicBezTo>
                    <a:lnTo>
                      <a:pt x="258127" y="346710"/>
                    </a:lnTo>
                    <a:cubicBezTo>
                      <a:pt x="258127" y="343853"/>
                      <a:pt x="257175" y="340995"/>
                      <a:pt x="255270" y="338138"/>
                    </a:cubicBezTo>
                    <a:cubicBezTo>
                      <a:pt x="252413" y="335280"/>
                      <a:pt x="249555" y="334328"/>
                      <a:pt x="246698" y="334328"/>
                    </a:cubicBezTo>
                    <a:close/>
                  </a:path>
                </a:pathLst>
              </a:custGeom>
              <a:grpFill/>
              <a:ln w="9525" cap="flat">
                <a:noFill/>
                <a:prstDash val="solid"/>
                <a:miter/>
              </a:ln>
            </p:spPr>
            <p:txBody>
              <a:bodyPr rtlCol="0" anchor="ctr"/>
              <a:lstStyle/>
              <a:p>
                <a:endParaRPr lang="en-US"/>
              </a:p>
            </p:txBody>
          </p:sp>
          <p:sp>
            <p:nvSpPr>
              <p:cNvPr id="26" name="Freeform 112">
                <a:extLst>
                  <a:ext uri="{FF2B5EF4-FFF2-40B4-BE49-F238E27FC236}">
                    <a16:creationId xmlns:a16="http://schemas.microsoft.com/office/drawing/2014/main" id="{8A1C40F7-2915-4D36-3DE0-4734CE5D877A}"/>
                  </a:ext>
                </a:extLst>
              </p:cNvPr>
              <p:cNvSpPr/>
              <p:nvPr/>
            </p:nvSpPr>
            <p:spPr>
              <a:xfrm>
                <a:off x="5993129" y="3298507"/>
                <a:ext cx="205740" cy="205739"/>
              </a:xfrm>
              <a:custGeom>
                <a:avLst/>
                <a:gdLst>
                  <a:gd name="connsiteX0" fmla="*/ 194310 w 205740"/>
                  <a:gd name="connsiteY0" fmla="*/ 91440 h 205739"/>
                  <a:gd name="connsiteX1" fmla="*/ 114300 w 205740"/>
                  <a:gd name="connsiteY1" fmla="*/ 91440 h 205739"/>
                  <a:gd name="connsiteX2" fmla="*/ 114300 w 205740"/>
                  <a:gd name="connsiteY2" fmla="*/ 11430 h 205739"/>
                  <a:gd name="connsiteX3" fmla="*/ 102870 w 205740"/>
                  <a:gd name="connsiteY3" fmla="*/ 0 h 205739"/>
                  <a:gd name="connsiteX4" fmla="*/ 91440 w 205740"/>
                  <a:gd name="connsiteY4" fmla="*/ 11430 h 205739"/>
                  <a:gd name="connsiteX5" fmla="*/ 91440 w 205740"/>
                  <a:gd name="connsiteY5" fmla="*/ 91440 h 205739"/>
                  <a:gd name="connsiteX6" fmla="*/ 11430 w 205740"/>
                  <a:gd name="connsiteY6" fmla="*/ 91440 h 205739"/>
                  <a:gd name="connsiteX7" fmla="*/ 0 w 205740"/>
                  <a:gd name="connsiteY7" fmla="*/ 102870 h 205739"/>
                  <a:gd name="connsiteX8" fmla="*/ 11430 w 205740"/>
                  <a:gd name="connsiteY8" fmla="*/ 114300 h 205739"/>
                  <a:gd name="connsiteX9" fmla="*/ 91440 w 205740"/>
                  <a:gd name="connsiteY9" fmla="*/ 114300 h 205739"/>
                  <a:gd name="connsiteX10" fmla="*/ 91440 w 205740"/>
                  <a:gd name="connsiteY10" fmla="*/ 194310 h 205739"/>
                  <a:gd name="connsiteX11" fmla="*/ 102870 w 205740"/>
                  <a:gd name="connsiteY11" fmla="*/ 205740 h 205739"/>
                  <a:gd name="connsiteX12" fmla="*/ 114300 w 205740"/>
                  <a:gd name="connsiteY12" fmla="*/ 194310 h 205739"/>
                  <a:gd name="connsiteX13" fmla="*/ 114300 w 205740"/>
                  <a:gd name="connsiteY13" fmla="*/ 114300 h 205739"/>
                  <a:gd name="connsiteX14" fmla="*/ 194310 w 205740"/>
                  <a:gd name="connsiteY14" fmla="*/ 114300 h 205739"/>
                  <a:gd name="connsiteX15" fmla="*/ 205740 w 205740"/>
                  <a:gd name="connsiteY15" fmla="*/ 102870 h 205739"/>
                  <a:gd name="connsiteX16" fmla="*/ 194310 w 205740"/>
                  <a:gd name="connsiteY16" fmla="*/ 91440 h 2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5740" h="205739">
                    <a:moveTo>
                      <a:pt x="194310" y="91440"/>
                    </a:moveTo>
                    <a:lnTo>
                      <a:pt x="114300" y="91440"/>
                    </a:lnTo>
                    <a:lnTo>
                      <a:pt x="114300" y="11430"/>
                    </a:lnTo>
                    <a:cubicBezTo>
                      <a:pt x="114300" y="4763"/>
                      <a:pt x="109538" y="0"/>
                      <a:pt x="102870" y="0"/>
                    </a:cubicBezTo>
                    <a:cubicBezTo>
                      <a:pt x="96203" y="0"/>
                      <a:pt x="91440" y="4763"/>
                      <a:pt x="91440" y="11430"/>
                    </a:cubicBezTo>
                    <a:lnTo>
                      <a:pt x="91440" y="91440"/>
                    </a:lnTo>
                    <a:lnTo>
                      <a:pt x="11430" y="91440"/>
                    </a:lnTo>
                    <a:cubicBezTo>
                      <a:pt x="4763" y="91440"/>
                      <a:pt x="0" y="96202"/>
                      <a:pt x="0" y="102870"/>
                    </a:cubicBezTo>
                    <a:cubicBezTo>
                      <a:pt x="0" y="109538"/>
                      <a:pt x="4763" y="114300"/>
                      <a:pt x="11430" y="114300"/>
                    </a:cubicBezTo>
                    <a:lnTo>
                      <a:pt x="91440" y="114300"/>
                    </a:lnTo>
                    <a:lnTo>
                      <a:pt x="91440" y="194310"/>
                    </a:lnTo>
                    <a:cubicBezTo>
                      <a:pt x="91440" y="200977"/>
                      <a:pt x="96203" y="205740"/>
                      <a:pt x="102870" y="205740"/>
                    </a:cubicBezTo>
                    <a:cubicBezTo>
                      <a:pt x="109538" y="205740"/>
                      <a:pt x="114300" y="200977"/>
                      <a:pt x="114300" y="194310"/>
                    </a:cubicBezTo>
                    <a:lnTo>
                      <a:pt x="114300" y="114300"/>
                    </a:lnTo>
                    <a:lnTo>
                      <a:pt x="194310" y="114300"/>
                    </a:lnTo>
                    <a:cubicBezTo>
                      <a:pt x="200978" y="114300"/>
                      <a:pt x="205740" y="109538"/>
                      <a:pt x="205740" y="102870"/>
                    </a:cubicBezTo>
                    <a:cubicBezTo>
                      <a:pt x="205740" y="97155"/>
                      <a:pt x="200978" y="91440"/>
                      <a:pt x="194310" y="91440"/>
                    </a:cubicBezTo>
                    <a:close/>
                  </a:path>
                </a:pathLst>
              </a:custGeom>
              <a:grpFill/>
              <a:ln w="9525" cap="flat">
                <a:noFill/>
                <a:prstDash val="solid"/>
                <a:miter/>
              </a:ln>
            </p:spPr>
            <p:txBody>
              <a:bodyPr rtlCol="0" anchor="ctr"/>
              <a:lstStyle/>
              <a:p>
                <a:endParaRPr lang="en-US"/>
              </a:p>
            </p:txBody>
          </p:sp>
        </p:grpSp>
      </p:grpSp>
      <p:sp>
        <p:nvSpPr>
          <p:cNvPr id="47" name="TextBox 46">
            <a:extLst>
              <a:ext uri="{FF2B5EF4-FFF2-40B4-BE49-F238E27FC236}">
                <a16:creationId xmlns:a16="http://schemas.microsoft.com/office/drawing/2014/main" id="{FB0E0450-D115-C0F1-1E27-D8CBDA213788}"/>
              </a:ext>
            </a:extLst>
          </p:cNvPr>
          <p:cNvSpPr txBox="1"/>
          <p:nvPr/>
        </p:nvSpPr>
        <p:spPr>
          <a:xfrm>
            <a:off x="4562635" y="1068596"/>
            <a:ext cx="1301265" cy="276999"/>
          </a:xfrm>
          <a:prstGeom prst="rect">
            <a:avLst/>
          </a:prstGeom>
          <a:noFill/>
        </p:spPr>
        <p:txBody>
          <a:bodyPr wrap="square" lIns="0" tIns="0" rIns="0" bIns="0" rtlCol="0">
            <a:noAutofit/>
          </a:bodyPr>
          <a:lstStyle>
            <a:defPPr>
              <a:defRPr lang="en-US"/>
            </a:defPPr>
            <a:lvl1pPr algn="ctr">
              <a:defRPr sz="1200" b="1">
                <a:solidFill>
                  <a:srgbClr val="00B498"/>
                </a:solidFill>
              </a:defRPr>
            </a:lvl1pPr>
          </a:lstStyle>
          <a:p>
            <a:r>
              <a:rPr lang="en-US" dirty="0">
                <a:solidFill>
                  <a:srgbClr val="00D9FF"/>
                </a:solidFill>
              </a:rPr>
              <a:t>TECHNOLOGY</a:t>
            </a:r>
          </a:p>
        </p:txBody>
      </p:sp>
      <p:sp>
        <p:nvSpPr>
          <p:cNvPr id="48" name="TextBox 47">
            <a:extLst>
              <a:ext uri="{FF2B5EF4-FFF2-40B4-BE49-F238E27FC236}">
                <a16:creationId xmlns:a16="http://schemas.microsoft.com/office/drawing/2014/main" id="{50226142-9D76-153B-F049-530A70EF3DF7}"/>
              </a:ext>
            </a:extLst>
          </p:cNvPr>
          <p:cNvSpPr txBox="1"/>
          <p:nvPr/>
        </p:nvSpPr>
        <p:spPr>
          <a:xfrm>
            <a:off x="7202856" y="3537245"/>
            <a:ext cx="991461" cy="276999"/>
          </a:xfrm>
          <a:prstGeom prst="rect">
            <a:avLst/>
          </a:prstGeom>
          <a:noFill/>
        </p:spPr>
        <p:txBody>
          <a:bodyPr wrap="square" lIns="0" tIns="0" rIns="0" bIns="0" rtlCol="0">
            <a:noAutofit/>
          </a:bodyPr>
          <a:lstStyle/>
          <a:p>
            <a:pPr algn="ctr"/>
            <a:r>
              <a:rPr lang="en-US" sz="1200" b="1" dirty="0">
                <a:solidFill>
                  <a:schemeClr val="accent3">
                    <a:lumMod val="20000"/>
                    <a:lumOff val="80000"/>
                  </a:schemeClr>
                </a:solidFill>
              </a:rPr>
              <a:t>PEOPLE</a:t>
            </a:r>
          </a:p>
        </p:txBody>
      </p:sp>
      <p:sp>
        <p:nvSpPr>
          <p:cNvPr id="50" name="TextBox 49">
            <a:extLst>
              <a:ext uri="{FF2B5EF4-FFF2-40B4-BE49-F238E27FC236}">
                <a16:creationId xmlns:a16="http://schemas.microsoft.com/office/drawing/2014/main" id="{3E220BD8-5394-21B2-94FB-309E0B008929}"/>
              </a:ext>
            </a:extLst>
          </p:cNvPr>
          <p:cNvSpPr txBox="1"/>
          <p:nvPr/>
        </p:nvSpPr>
        <p:spPr>
          <a:xfrm>
            <a:off x="2098740" y="3354085"/>
            <a:ext cx="1018164" cy="276999"/>
          </a:xfrm>
          <a:prstGeom prst="rect">
            <a:avLst/>
          </a:prstGeom>
          <a:noFill/>
        </p:spPr>
        <p:txBody>
          <a:bodyPr wrap="square" lIns="0" tIns="0" rIns="0" bIns="0" rtlCol="0">
            <a:noAutofit/>
          </a:bodyPr>
          <a:lstStyle/>
          <a:p>
            <a:pPr algn="ctr"/>
            <a:r>
              <a:rPr lang="en-US" sz="1200" b="1">
                <a:solidFill>
                  <a:schemeClr val="accent5"/>
                </a:solidFill>
              </a:rPr>
              <a:t>PROCESS</a:t>
            </a:r>
          </a:p>
        </p:txBody>
      </p:sp>
      <p:grpSp>
        <p:nvGrpSpPr>
          <p:cNvPr id="64" name="Group 63">
            <a:extLst>
              <a:ext uri="{FF2B5EF4-FFF2-40B4-BE49-F238E27FC236}">
                <a16:creationId xmlns:a16="http://schemas.microsoft.com/office/drawing/2014/main" id="{BBC5247C-55F6-B6F2-E198-CEB0ADD3960A}"/>
              </a:ext>
            </a:extLst>
          </p:cNvPr>
          <p:cNvGrpSpPr/>
          <p:nvPr/>
        </p:nvGrpSpPr>
        <p:grpSpPr>
          <a:xfrm>
            <a:off x="2173246" y="3632697"/>
            <a:ext cx="914400" cy="914400"/>
            <a:chOff x="3473444" y="3550712"/>
            <a:chExt cx="914400" cy="914400"/>
          </a:xfrm>
        </p:grpSpPr>
        <p:sp>
          <p:nvSpPr>
            <p:cNvPr id="5" name="Oval 4">
              <a:extLst>
                <a:ext uri="{FF2B5EF4-FFF2-40B4-BE49-F238E27FC236}">
                  <a16:creationId xmlns:a16="http://schemas.microsoft.com/office/drawing/2014/main" id="{6E3A23AA-374F-A014-CCD5-05357D28630B}"/>
                </a:ext>
              </a:extLst>
            </p:cNvPr>
            <p:cNvSpPr/>
            <p:nvPr/>
          </p:nvSpPr>
          <p:spPr>
            <a:xfrm>
              <a:off x="3473444" y="3550712"/>
              <a:ext cx="914400"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Graphic 59" descr="Gears with solid fill">
              <a:extLst>
                <a:ext uri="{FF2B5EF4-FFF2-40B4-BE49-F238E27FC236}">
                  <a16:creationId xmlns:a16="http://schemas.microsoft.com/office/drawing/2014/main" id="{C8BEE4F9-7A2A-54D8-BB77-BAE05AC481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43103" y="3636815"/>
              <a:ext cx="731520" cy="731520"/>
            </a:xfrm>
            <a:prstGeom prst="rect">
              <a:avLst/>
            </a:prstGeom>
          </p:spPr>
        </p:pic>
      </p:grpSp>
      <p:grpSp>
        <p:nvGrpSpPr>
          <p:cNvPr id="78" name="Group 77">
            <a:extLst>
              <a:ext uri="{FF2B5EF4-FFF2-40B4-BE49-F238E27FC236}">
                <a16:creationId xmlns:a16="http://schemas.microsoft.com/office/drawing/2014/main" id="{BD585C73-DA19-FA15-70EF-119F63ABF2E8}"/>
              </a:ext>
            </a:extLst>
          </p:cNvPr>
          <p:cNvGrpSpPr/>
          <p:nvPr/>
        </p:nvGrpSpPr>
        <p:grpSpPr>
          <a:xfrm>
            <a:off x="4759173" y="1394379"/>
            <a:ext cx="914400" cy="914400"/>
            <a:chOff x="5633886" y="7340604"/>
            <a:chExt cx="914400" cy="914400"/>
          </a:xfrm>
        </p:grpSpPr>
        <p:sp>
          <p:nvSpPr>
            <p:cNvPr id="28" name="Oval 27">
              <a:extLst>
                <a:ext uri="{FF2B5EF4-FFF2-40B4-BE49-F238E27FC236}">
                  <a16:creationId xmlns:a16="http://schemas.microsoft.com/office/drawing/2014/main" id="{BE3CAD19-29B8-547F-59AA-81EBC613F3FE}"/>
                </a:ext>
              </a:extLst>
            </p:cNvPr>
            <p:cNvSpPr/>
            <p:nvPr/>
          </p:nvSpPr>
          <p:spPr>
            <a:xfrm>
              <a:off x="5633886" y="7340604"/>
              <a:ext cx="914400" cy="914400"/>
            </a:xfrm>
            <a:prstGeom prst="ellipse">
              <a:avLst/>
            </a:prstGeom>
            <a:solidFill>
              <a:srgbClr val="00D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Graphic 62" descr="Ui Ux with solid fill">
              <a:extLst>
                <a:ext uri="{FF2B5EF4-FFF2-40B4-BE49-F238E27FC236}">
                  <a16:creationId xmlns:a16="http://schemas.microsoft.com/office/drawing/2014/main" id="{1B3F770F-BC7F-9402-7554-E6FBA70F4F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25326" y="7432044"/>
              <a:ext cx="731520" cy="731520"/>
            </a:xfrm>
            <a:prstGeom prst="rect">
              <a:avLst/>
            </a:prstGeom>
          </p:spPr>
        </p:pic>
      </p:grpSp>
      <p:grpSp>
        <p:nvGrpSpPr>
          <p:cNvPr id="33" name="Group 32">
            <a:extLst>
              <a:ext uri="{FF2B5EF4-FFF2-40B4-BE49-F238E27FC236}">
                <a16:creationId xmlns:a16="http://schemas.microsoft.com/office/drawing/2014/main" id="{004FFAC7-7A1C-86B6-7C04-04527E0713C3}"/>
              </a:ext>
            </a:extLst>
          </p:cNvPr>
          <p:cNvGrpSpPr/>
          <p:nvPr/>
        </p:nvGrpSpPr>
        <p:grpSpPr>
          <a:xfrm>
            <a:off x="3616489" y="2617095"/>
            <a:ext cx="3201630" cy="3353076"/>
            <a:chOff x="3980715" y="2602579"/>
            <a:chExt cx="3201630" cy="3353076"/>
          </a:xfrm>
        </p:grpSpPr>
        <p:grpSp>
          <p:nvGrpSpPr>
            <p:cNvPr id="7" name="Group 6">
              <a:extLst>
                <a:ext uri="{FF2B5EF4-FFF2-40B4-BE49-F238E27FC236}">
                  <a16:creationId xmlns:a16="http://schemas.microsoft.com/office/drawing/2014/main" id="{9F2DBFA7-458E-CFEA-3A3B-AC31C3BF20BF}"/>
                </a:ext>
              </a:extLst>
            </p:cNvPr>
            <p:cNvGrpSpPr/>
            <p:nvPr/>
          </p:nvGrpSpPr>
          <p:grpSpPr>
            <a:xfrm>
              <a:off x="5838131" y="2673494"/>
              <a:ext cx="1344214" cy="1808556"/>
              <a:chOff x="6273500" y="2152709"/>
              <a:chExt cx="1305509" cy="1756481"/>
            </a:xfrm>
          </p:grpSpPr>
          <p:sp>
            <p:nvSpPr>
              <p:cNvPr id="8" name="Freeform 5">
                <a:extLst>
                  <a:ext uri="{FF2B5EF4-FFF2-40B4-BE49-F238E27FC236}">
                    <a16:creationId xmlns:a16="http://schemas.microsoft.com/office/drawing/2014/main" id="{61F70834-4BA4-5F4A-21E1-64A77E2E2691}"/>
                  </a:ext>
                </a:extLst>
              </p:cNvPr>
              <p:cNvSpPr>
                <a:spLocks noEditPoints="1"/>
              </p:cNvSpPr>
              <p:nvPr/>
            </p:nvSpPr>
            <p:spPr bwMode="auto">
              <a:xfrm>
                <a:off x="6273500" y="2152709"/>
                <a:ext cx="1002548" cy="1744918"/>
              </a:xfrm>
              <a:custGeom>
                <a:avLst/>
                <a:gdLst>
                  <a:gd name="T0" fmla="*/ 118 w 441"/>
                  <a:gd name="T1" fmla="*/ 173 h 767"/>
                  <a:gd name="T2" fmla="*/ 116 w 441"/>
                  <a:gd name="T3" fmla="*/ 176 h 767"/>
                  <a:gd name="T4" fmla="*/ 111 w 441"/>
                  <a:gd name="T5" fmla="*/ 182 h 767"/>
                  <a:gd name="T6" fmla="*/ 100 w 441"/>
                  <a:gd name="T7" fmla="*/ 195 h 767"/>
                  <a:gd name="T8" fmla="*/ 93 w 441"/>
                  <a:gd name="T9" fmla="*/ 203 h 767"/>
                  <a:gd name="T10" fmla="*/ 85 w 441"/>
                  <a:gd name="T11" fmla="*/ 211 h 767"/>
                  <a:gd name="T12" fmla="*/ 50 w 441"/>
                  <a:gd name="T13" fmla="*/ 256 h 767"/>
                  <a:gd name="T14" fmla="*/ 28 w 441"/>
                  <a:gd name="T15" fmla="*/ 193 h 767"/>
                  <a:gd name="T16" fmla="*/ 37 w 441"/>
                  <a:gd name="T17" fmla="*/ 182 h 767"/>
                  <a:gd name="T18" fmla="*/ 44 w 441"/>
                  <a:gd name="T19" fmla="*/ 174 h 767"/>
                  <a:gd name="T20" fmla="*/ 50 w 441"/>
                  <a:gd name="T21" fmla="*/ 168 h 767"/>
                  <a:gd name="T22" fmla="*/ 65 w 441"/>
                  <a:gd name="T23" fmla="*/ 151 h 767"/>
                  <a:gd name="T24" fmla="*/ 68 w 441"/>
                  <a:gd name="T25" fmla="*/ 146 h 767"/>
                  <a:gd name="T26" fmla="*/ 75 w 441"/>
                  <a:gd name="T27" fmla="*/ 133 h 767"/>
                  <a:gd name="T28" fmla="*/ 79 w 441"/>
                  <a:gd name="T29" fmla="*/ 124 h 767"/>
                  <a:gd name="T30" fmla="*/ 78 w 441"/>
                  <a:gd name="T31" fmla="*/ 73 h 767"/>
                  <a:gd name="T32" fmla="*/ 55 w 441"/>
                  <a:gd name="T33" fmla="*/ 0 h 767"/>
                  <a:gd name="T34" fmla="*/ 55 w 441"/>
                  <a:gd name="T35" fmla="*/ 0 h 767"/>
                  <a:gd name="T36" fmla="*/ 115 w 441"/>
                  <a:gd name="T37" fmla="*/ 12 h 767"/>
                  <a:gd name="T38" fmla="*/ 126 w 441"/>
                  <a:gd name="T39" fmla="*/ 15 h 767"/>
                  <a:gd name="T40" fmla="*/ 149 w 441"/>
                  <a:gd name="T41" fmla="*/ 22 h 767"/>
                  <a:gd name="T42" fmla="*/ 171 w 441"/>
                  <a:gd name="T43" fmla="*/ 30 h 767"/>
                  <a:gd name="T44" fmla="*/ 192 w 441"/>
                  <a:gd name="T45" fmla="*/ 38 h 767"/>
                  <a:gd name="T46" fmla="*/ 213 w 441"/>
                  <a:gd name="T47" fmla="*/ 48 h 767"/>
                  <a:gd name="T48" fmla="*/ 233 w 441"/>
                  <a:gd name="T49" fmla="*/ 58 h 767"/>
                  <a:gd name="T50" fmla="*/ 262 w 441"/>
                  <a:gd name="T51" fmla="*/ 75 h 767"/>
                  <a:gd name="T52" fmla="*/ 242 w 441"/>
                  <a:gd name="T53" fmla="*/ 65 h 767"/>
                  <a:gd name="T54" fmla="*/ 221 w 441"/>
                  <a:gd name="T55" fmla="*/ 57 h 767"/>
                  <a:gd name="T56" fmla="*/ 199 w 441"/>
                  <a:gd name="T57" fmla="*/ 49 h 767"/>
                  <a:gd name="T58" fmla="*/ 175 w 441"/>
                  <a:gd name="T59" fmla="*/ 42 h 767"/>
                  <a:gd name="T60" fmla="*/ 157 w 441"/>
                  <a:gd name="T61" fmla="*/ 37 h 767"/>
                  <a:gd name="T62" fmla="*/ 141 w 441"/>
                  <a:gd name="T63" fmla="*/ 33 h 767"/>
                  <a:gd name="T64" fmla="*/ 125 w 441"/>
                  <a:gd name="T65" fmla="*/ 30 h 767"/>
                  <a:gd name="T66" fmla="*/ 104 w 441"/>
                  <a:gd name="T67" fmla="*/ 27 h 767"/>
                  <a:gd name="T68" fmla="*/ 119 w 441"/>
                  <a:gd name="T69" fmla="*/ 68 h 767"/>
                  <a:gd name="T70" fmla="*/ 132 w 441"/>
                  <a:gd name="T71" fmla="*/ 115 h 767"/>
                  <a:gd name="T72" fmla="*/ 127 w 441"/>
                  <a:gd name="T73" fmla="*/ 154 h 767"/>
                  <a:gd name="T74" fmla="*/ 125 w 441"/>
                  <a:gd name="T75" fmla="*/ 160 h 767"/>
                  <a:gd name="T76" fmla="*/ 121 w 441"/>
                  <a:gd name="T77" fmla="*/ 167 h 767"/>
                  <a:gd name="T78" fmla="*/ 437 w 441"/>
                  <a:gd name="T79" fmla="*/ 764 h 767"/>
                  <a:gd name="T80" fmla="*/ 359 w 441"/>
                  <a:gd name="T81" fmla="*/ 701 h 767"/>
                  <a:gd name="T82" fmla="*/ 361 w 441"/>
                  <a:gd name="T83" fmla="*/ 645 h 767"/>
                  <a:gd name="T84" fmla="*/ 119 w 441"/>
                  <a:gd name="T85" fmla="*/ 268 h 767"/>
                  <a:gd name="T86" fmla="*/ 308 w 441"/>
                  <a:gd name="T87" fmla="*/ 667 h 767"/>
                  <a:gd name="T88" fmla="*/ 320 w 441"/>
                  <a:gd name="T89" fmla="*/ 685 h 767"/>
                  <a:gd name="T90" fmla="*/ 391 w 441"/>
                  <a:gd name="T91" fmla="*/ 740 h 767"/>
                  <a:gd name="T92" fmla="*/ 437 w 441"/>
                  <a:gd name="T93" fmla="*/ 764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1" h="767">
                    <a:moveTo>
                      <a:pt x="121" y="167"/>
                    </a:moveTo>
                    <a:cubicBezTo>
                      <a:pt x="120" y="169"/>
                      <a:pt x="119" y="171"/>
                      <a:pt x="118" y="173"/>
                    </a:cubicBezTo>
                    <a:cubicBezTo>
                      <a:pt x="117" y="174"/>
                      <a:pt x="117" y="175"/>
                      <a:pt x="116" y="176"/>
                    </a:cubicBezTo>
                    <a:cubicBezTo>
                      <a:pt x="116" y="176"/>
                      <a:pt x="116" y="176"/>
                      <a:pt x="116" y="176"/>
                    </a:cubicBezTo>
                    <a:cubicBezTo>
                      <a:pt x="115" y="177"/>
                      <a:pt x="115" y="177"/>
                      <a:pt x="114" y="178"/>
                    </a:cubicBezTo>
                    <a:cubicBezTo>
                      <a:pt x="113" y="180"/>
                      <a:pt x="112" y="181"/>
                      <a:pt x="111" y="182"/>
                    </a:cubicBezTo>
                    <a:cubicBezTo>
                      <a:pt x="111" y="182"/>
                      <a:pt x="111" y="183"/>
                      <a:pt x="110" y="183"/>
                    </a:cubicBezTo>
                    <a:cubicBezTo>
                      <a:pt x="110" y="183"/>
                      <a:pt x="106" y="188"/>
                      <a:pt x="100" y="195"/>
                    </a:cubicBezTo>
                    <a:cubicBezTo>
                      <a:pt x="98" y="197"/>
                      <a:pt x="96" y="199"/>
                      <a:pt x="94" y="201"/>
                    </a:cubicBezTo>
                    <a:cubicBezTo>
                      <a:pt x="94" y="201"/>
                      <a:pt x="93" y="202"/>
                      <a:pt x="93" y="203"/>
                    </a:cubicBezTo>
                    <a:cubicBezTo>
                      <a:pt x="91" y="205"/>
                      <a:pt x="89" y="207"/>
                      <a:pt x="87" y="209"/>
                    </a:cubicBezTo>
                    <a:cubicBezTo>
                      <a:pt x="86" y="210"/>
                      <a:pt x="86" y="211"/>
                      <a:pt x="85" y="211"/>
                    </a:cubicBezTo>
                    <a:cubicBezTo>
                      <a:pt x="83" y="214"/>
                      <a:pt x="80" y="217"/>
                      <a:pt x="78" y="220"/>
                    </a:cubicBezTo>
                    <a:cubicBezTo>
                      <a:pt x="65" y="235"/>
                      <a:pt x="54" y="250"/>
                      <a:pt x="50" y="256"/>
                    </a:cubicBezTo>
                    <a:cubicBezTo>
                      <a:pt x="0" y="229"/>
                      <a:pt x="0" y="229"/>
                      <a:pt x="0" y="229"/>
                    </a:cubicBezTo>
                    <a:cubicBezTo>
                      <a:pt x="5" y="223"/>
                      <a:pt x="16" y="208"/>
                      <a:pt x="28" y="193"/>
                    </a:cubicBezTo>
                    <a:cubicBezTo>
                      <a:pt x="30" y="190"/>
                      <a:pt x="33" y="187"/>
                      <a:pt x="35" y="184"/>
                    </a:cubicBezTo>
                    <a:cubicBezTo>
                      <a:pt x="36" y="184"/>
                      <a:pt x="37" y="183"/>
                      <a:pt x="37" y="182"/>
                    </a:cubicBezTo>
                    <a:cubicBezTo>
                      <a:pt x="39" y="180"/>
                      <a:pt x="41" y="178"/>
                      <a:pt x="43" y="176"/>
                    </a:cubicBezTo>
                    <a:cubicBezTo>
                      <a:pt x="43" y="175"/>
                      <a:pt x="44" y="175"/>
                      <a:pt x="44" y="174"/>
                    </a:cubicBezTo>
                    <a:cubicBezTo>
                      <a:pt x="44" y="174"/>
                      <a:pt x="44" y="174"/>
                      <a:pt x="44" y="174"/>
                    </a:cubicBezTo>
                    <a:cubicBezTo>
                      <a:pt x="46" y="172"/>
                      <a:pt x="48" y="170"/>
                      <a:pt x="50" y="168"/>
                    </a:cubicBezTo>
                    <a:cubicBezTo>
                      <a:pt x="56" y="161"/>
                      <a:pt x="60" y="156"/>
                      <a:pt x="61" y="156"/>
                    </a:cubicBezTo>
                    <a:cubicBezTo>
                      <a:pt x="62" y="155"/>
                      <a:pt x="63" y="153"/>
                      <a:pt x="65" y="151"/>
                    </a:cubicBezTo>
                    <a:cubicBezTo>
                      <a:pt x="65" y="150"/>
                      <a:pt x="66" y="150"/>
                      <a:pt x="66" y="149"/>
                    </a:cubicBezTo>
                    <a:cubicBezTo>
                      <a:pt x="67" y="148"/>
                      <a:pt x="68" y="147"/>
                      <a:pt x="68" y="146"/>
                    </a:cubicBezTo>
                    <a:cubicBezTo>
                      <a:pt x="69" y="144"/>
                      <a:pt x="71" y="142"/>
                      <a:pt x="72" y="140"/>
                    </a:cubicBezTo>
                    <a:cubicBezTo>
                      <a:pt x="73" y="138"/>
                      <a:pt x="74" y="136"/>
                      <a:pt x="75" y="133"/>
                    </a:cubicBezTo>
                    <a:cubicBezTo>
                      <a:pt x="76" y="133"/>
                      <a:pt x="76" y="132"/>
                      <a:pt x="76" y="132"/>
                    </a:cubicBezTo>
                    <a:cubicBezTo>
                      <a:pt x="77" y="129"/>
                      <a:pt x="78" y="127"/>
                      <a:pt x="79" y="124"/>
                    </a:cubicBezTo>
                    <a:cubicBezTo>
                      <a:pt x="83" y="111"/>
                      <a:pt x="85" y="98"/>
                      <a:pt x="82" y="88"/>
                    </a:cubicBezTo>
                    <a:cubicBezTo>
                      <a:pt x="82" y="87"/>
                      <a:pt x="81" y="82"/>
                      <a:pt x="78" y="73"/>
                    </a:cubicBezTo>
                    <a:cubicBezTo>
                      <a:pt x="76" y="64"/>
                      <a:pt x="73" y="52"/>
                      <a:pt x="69" y="41"/>
                    </a:cubicBezTo>
                    <a:cubicBezTo>
                      <a:pt x="64" y="24"/>
                      <a:pt x="58" y="8"/>
                      <a:pt x="55" y="0"/>
                    </a:cubicBezTo>
                    <a:cubicBezTo>
                      <a:pt x="55" y="0"/>
                      <a:pt x="55" y="0"/>
                      <a:pt x="55" y="0"/>
                    </a:cubicBezTo>
                    <a:cubicBezTo>
                      <a:pt x="55" y="0"/>
                      <a:pt x="55" y="0"/>
                      <a:pt x="55" y="0"/>
                    </a:cubicBezTo>
                    <a:cubicBezTo>
                      <a:pt x="75" y="3"/>
                      <a:pt x="95" y="7"/>
                      <a:pt x="115" y="12"/>
                    </a:cubicBezTo>
                    <a:cubicBezTo>
                      <a:pt x="115" y="12"/>
                      <a:pt x="115" y="12"/>
                      <a:pt x="115" y="12"/>
                    </a:cubicBezTo>
                    <a:cubicBezTo>
                      <a:pt x="118" y="12"/>
                      <a:pt x="120" y="13"/>
                      <a:pt x="123" y="14"/>
                    </a:cubicBezTo>
                    <a:cubicBezTo>
                      <a:pt x="124" y="14"/>
                      <a:pt x="125" y="14"/>
                      <a:pt x="126" y="15"/>
                    </a:cubicBezTo>
                    <a:cubicBezTo>
                      <a:pt x="132" y="16"/>
                      <a:pt x="139" y="18"/>
                      <a:pt x="145" y="21"/>
                    </a:cubicBezTo>
                    <a:cubicBezTo>
                      <a:pt x="147" y="21"/>
                      <a:pt x="148" y="21"/>
                      <a:pt x="149" y="22"/>
                    </a:cubicBezTo>
                    <a:cubicBezTo>
                      <a:pt x="155" y="24"/>
                      <a:pt x="162" y="26"/>
                      <a:pt x="168" y="29"/>
                    </a:cubicBezTo>
                    <a:cubicBezTo>
                      <a:pt x="169" y="29"/>
                      <a:pt x="170" y="29"/>
                      <a:pt x="171" y="30"/>
                    </a:cubicBezTo>
                    <a:cubicBezTo>
                      <a:pt x="178" y="32"/>
                      <a:pt x="184" y="35"/>
                      <a:pt x="191" y="38"/>
                    </a:cubicBezTo>
                    <a:cubicBezTo>
                      <a:pt x="191" y="38"/>
                      <a:pt x="192" y="38"/>
                      <a:pt x="192" y="38"/>
                    </a:cubicBezTo>
                    <a:cubicBezTo>
                      <a:pt x="198" y="41"/>
                      <a:pt x="205" y="44"/>
                      <a:pt x="211" y="47"/>
                    </a:cubicBezTo>
                    <a:cubicBezTo>
                      <a:pt x="211" y="47"/>
                      <a:pt x="212" y="47"/>
                      <a:pt x="213" y="48"/>
                    </a:cubicBezTo>
                    <a:cubicBezTo>
                      <a:pt x="213" y="48"/>
                      <a:pt x="214" y="48"/>
                      <a:pt x="214" y="48"/>
                    </a:cubicBezTo>
                    <a:cubicBezTo>
                      <a:pt x="220" y="51"/>
                      <a:pt x="227" y="55"/>
                      <a:pt x="233" y="58"/>
                    </a:cubicBezTo>
                    <a:cubicBezTo>
                      <a:pt x="282" y="85"/>
                      <a:pt x="282" y="85"/>
                      <a:pt x="282" y="85"/>
                    </a:cubicBezTo>
                    <a:cubicBezTo>
                      <a:pt x="276" y="81"/>
                      <a:pt x="269" y="78"/>
                      <a:pt x="262" y="75"/>
                    </a:cubicBezTo>
                    <a:cubicBezTo>
                      <a:pt x="262" y="74"/>
                      <a:pt x="261" y="74"/>
                      <a:pt x="260" y="74"/>
                    </a:cubicBezTo>
                    <a:cubicBezTo>
                      <a:pt x="254" y="71"/>
                      <a:pt x="248" y="68"/>
                      <a:pt x="242" y="65"/>
                    </a:cubicBezTo>
                    <a:cubicBezTo>
                      <a:pt x="241" y="65"/>
                      <a:pt x="241" y="65"/>
                      <a:pt x="240" y="65"/>
                    </a:cubicBezTo>
                    <a:cubicBezTo>
                      <a:pt x="234" y="62"/>
                      <a:pt x="227" y="59"/>
                      <a:pt x="221" y="57"/>
                    </a:cubicBezTo>
                    <a:cubicBezTo>
                      <a:pt x="220" y="56"/>
                      <a:pt x="219" y="56"/>
                      <a:pt x="218" y="56"/>
                    </a:cubicBezTo>
                    <a:cubicBezTo>
                      <a:pt x="211" y="53"/>
                      <a:pt x="205" y="51"/>
                      <a:pt x="199" y="49"/>
                    </a:cubicBezTo>
                    <a:cubicBezTo>
                      <a:pt x="197" y="48"/>
                      <a:pt x="196" y="48"/>
                      <a:pt x="195" y="48"/>
                    </a:cubicBezTo>
                    <a:cubicBezTo>
                      <a:pt x="189" y="45"/>
                      <a:pt x="182" y="43"/>
                      <a:pt x="175" y="42"/>
                    </a:cubicBezTo>
                    <a:cubicBezTo>
                      <a:pt x="174" y="41"/>
                      <a:pt x="174" y="41"/>
                      <a:pt x="173" y="41"/>
                    </a:cubicBezTo>
                    <a:cubicBezTo>
                      <a:pt x="167" y="39"/>
                      <a:pt x="162" y="38"/>
                      <a:pt x="157" y="37"/>
                    </a:cubicBezTo>
                    <a:cubicBezTo>
                      <a:pt x="156" y="37"/>
                      <a:pt x="156" y="36"/>
                      <a:pt x="155" y="36"/>
                    </a:cubicBezTo>
                    <a:cubicBezTo>
                      <a:pt x="150" y="35"/>
                      <a:pt x="146" y="34"/>
                      <a:pt x="141" y="33"/>
                    </a:cubicBezTo>
                    <a:cubicBezTo>
                      <a:pt x="140" y="33"/>
                      <a:pt x="139" y="33"/>
                      <a:pt x="138" y="33"/>
                    </a:cubicBezTo>
                    <a:cubicBezTo>
                      <a:pt x="133" y="32"/>
                      <a:pt x="129" y="31"/>
                      <a:pt x="125" y="30"/>
                    </a:cubicBezTo>
                    <a:cubicBezTo>
                      <a:pt x="123" y="30"/>
                      <a:pt x="122" y="30"/>
                      <a:pt x="121" y="29"/>
                    </a:cubicBezTo>
                    <a:cubicBezTo>
                      <a:pt x="115" y="28"/>
                      <a:pt x="110" y="28"/>
                      <a:pt x="104" y="27"/>
                    </a:cubicBezTo>
                    <a:cubicBezTo>
                      <a:pt x="105" y="30"/>
                      <a:pt x="107" y="34"/>
                      <a:pt x="109" y="39"/>
                    </a:cubicBezTo>
                    <a:cubicBezTo>
                      <a:pt x="112" y="47"/>
                      <a:pt x="116" y="58"/>
                      <a:pt x="119" y="68"/>
                    </a:cubicBezTo>
                    <a:cubicBezTo>
                      <a:pt x="123" y="79"/>
                      <a:pt x="126" y="91"/>
                      <a:pt x="128" y="100"/>
                    </a:cubicBezTo>
                    <a:cubicBezTo>
                      <a:pt x="130" y="109"/>
                      <a:pt x="132" y="114"/>
                      <a:pt x="132" y="115"/>
                    </a:cubicBezTo>
                    <a:cubicBezTo>
                      <a:pt x="134" y="125"/>
                      <a:pt x="133" y="138"/>
                      <a:pt x="129" y="151"/>
                    </a:cubicBezTo>
                    <a:cubicBezTo>
                      <a:pt x="128" y="152"/>
                      <a:pt x="128" y="153"/>
                      <a:pt x="127" y="154"/>
                    </a:cubicBezTo>
                    <a:cubicBezTo>
                      <a:pt x="127" y="156"/>
                      <a:pt x="126" y="157"/>
                      <a:pt x="125" y="159"/>
                    </a:cubicBezTo>
                    <a:cubicBezTo>
                      <a:pt x="125" y="159"/>
                      <a:pt x="125" y="160"/>
                      <a:pt x="125" y="160"/>
                    </a:cubicBezTo>
                    <a:cubicBezTo>
                      <a:pt x="124" y="162"/>
                      <a:pt x="123" y="165"/>
                      <a:pt x="122" y="167"/>
                    </a:cubicBezTo>
                    <a:cubicBezTo>
                      <a:pt x="122" y="167"/>
                      <a:pt x="121" y="167"/>
                      <a:pt x="121" y="167"/>
                    </a:cubicBezTo>
                    <a:close/>
                    <a:moveTo>
                      <a:pt x="437" y="764"/>
                    </a:moveTo>
                    <a:cubicBezTo>
                      <a:pt x="437" y="764"/>
                      <a:pt x="437" y="764"/>
                      <a:pt x="437" y="764"/>
                    </a:cubicBezTo>
                    <a:cubicBezTo>
                      <a:pt x="369" y="712"/>
                      <a:pt x="369" y="712"/>
                      <a:pt x="369" y="712"/>
                    </a:cubicBezTo>
                    <a:cubicBezTo>
                      <a:pt x="365" y="710"/>
                      <a:pt x="362" y="705"/>
                      <a:pt x="359" y="701"/>
                    </a:cubicBezTo>
                    <a:cubicBezTo>
                      <a:pt x="359" y="700"/>
                      <a:pt x="358" y="695"/>
                      <a:pt x="358" y="694"/>
                    </a:cubicBezTo>
                    <a:cubicBezTo>
                      <a:pt x="360" y="678"/>
                      <a:pt x="360" y="662"/>
                      <a:pt x="361" y="645"/>
                    </a:cubicBezTo>
                    <a:cubicBezTo>
                      <a:pt x="361" y="487"/>
                      <a:pt x="284" y="358"/>
                      <a:pt x="168" y="295"/>
                    </a:cubicBezTo>
                    <a:cubicBezTo>
                      <a:pt x="119" y="268"/>
                      <a:pt x="119" y="268"/>
                      <a:pt x="119" y="268"/>
                    </a:cubicBezTo>
                    <a:cubicBezTo>
                      <a:pt x="235" y="331"/>
                      <a:pt x="311" y="460"/>
                      <a:pt x="311" y="618"/>
                    </a:cubicBezTo>
                    <a:cubicBezTo>
                      <a:pt x="311" y="635"/>
                      <a:pt x="310" y="651"/>
                      <a:pt x="308" y="667"/>
                    </a:cubicBezTo>
                    <a:cubicBezTo>
                      <a:pt x="308" y="668"/>
                      <a:pt x="309" y="673"/>
                      <a:pt x="310" y="674"/>
                    </a:cubicBezTo>
                    <a:cubicBezTo>
                      <a:pt x="312" y="678"/>
                      <a:pt x="316" y="683"/>
                      <a:pt x="320" y="685"/>
                    </a:cubicBezTo>
                    <a:cubicBezTo>
                      <a:pt x="387" y="737"/>
                      <a:pt x="387" y="737"/>
                      <a:pt x="387" y="737"/>
                    </a:cubicBezTo>
                    <a:cubicBezTo>
                      <a:pt x="388" y="738"/>
                      <a:pt x="390" y="739"/>
                      <a:pt x="391" y="740"/>
                    </a:cubicBezTo>
                    <a:cubicBezTo>
                      <a:pt x="441" y="767"/>
                      <a:pt x="441" y="767"/>
                      <a:pt x="441" y="767"/>
                    </a:cubicBezTo>
                    <a:cubicBezTo>
                      <a:pt x="439" y="766"/>
                      <a:pt x="438" y="765"/>
                      <a:pt x="437" y="764"/>
                    </a:cubicBezTo>
                    <a:close/>
                  </a:path>
                </a:pathLst>
              </a:custGeom>
              <a:solidFill>
                <a:schemeClr val="accent2">
                  <a:lumMod val="75000"/>
                </a:schemeClr>
              </a:solidFill>
              <a:ln w="38100">
                <a:noFill/>
              </a:ln>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sp>
            <p:nvSpPr>
              <p:cNvPr id="9" name="Freeform 6">
                <a:extLst>
                  <a:ext uri="{FF2B5EF4-FFF2-40B4-BE49-F238E27FC236}">
                    <a16:creationId xmlns:a16="http://schemas.microsoft.com/office/drawing/2014/main" id="{57F34F8A-7CE3-A882-E221-0C7AE6D34A25}"/>
                  </a:ext>
                </a:extLst>
              </p:cNvPr>
              <p:cNvSpPr>
                <a:spLocks/>
              </p:cNvSpPr>
              <p:nvPr/>
            </p:nvSpPr>
            <p:spPr bwMode="auto">
              <a:xfrm>
                <a:off x="6386821" y="2213995"/>
                <a:ext cx="1192188" cy="1695195"/>
              </a:xfrm>
              <a:custGeom>
                <a:avLst/>
                <a:gdLst>
                  <a:gd name="T0" fmla="*/ 54 w 524"/>
                  <a:gd name="T1" fmla="*/ 0 h 745"/>
                  <a:gd name="T2" fmla="*/ 523 w 524"/>
                  <a:gd name="T3" fmla="*/ 589 h 745"/>
                  <a:gd name="T4" fmla="*/ 520 w 524"/>
                  <a:gd name="T5" fmla="*/ 650 h 745"/>
                  <a:gd name="T6" fmla="*/ 504 w 524"/>
                  <a:gd name="T7" fmla="*/ 680 h 745"/>
                  <a:gd name="T8" fmla="*/ 418 w 524"/>
                  <a:gd name="T9" fmla="*/ 741 h 745"/>
                  <a:gd name="T10" fmla="*/ 410 w 524"/>
                  <a:gd name="T11" fmla="*/ 743 h 745"/>
                  <a:gd name="T12" fmla="*/ 387 w 524"/>
                  <a:gd name="T13" fmla="*/ 737 h 745"/>
                  <a:gd name="T14" fmla="*/ 319 w 524"/>
                  <a:gd name="T15" fmla="*/ 685 h 745"/>
                  <a:gd name="T16" fmla="*/ 309 w 524"/>
                  <a:gd name="T17" fmla="*/ 674 h 745"/>
                  <a:gd name="T18" fmla="*/ 308 w 524"/>
                  <a:gd name="T19" fmla="*/ 667 h 745"/>
                  <a:gd name="T20" fmla="*/ 311 w 524"/>
                  <a:gd name="T21" fmla="*/ 618 h 745"/>
                  <a:gd name="T22" fmla="*/ 0 w 524"/>
                  <a:gd name="T23" fmla="*/ 229 h 745"/>
                  <a:gd name="T24" fmla="*/ 28 w 524"/>
                  <a:gd name="T25" fmla="*/ 193 h 745"/>
                  <a:gd name="T26" fmla="*/ 50 w 524"/>
                  <a:gd name="T27" fmla="*/ 168 h 745"/>
                  <a:gd name="T28" fmla="*/ 60 w 524"/>
                  <a:gd name="T29" fmla="*/ 156 h 745"/>
                  <a:gd name="T30" fmla="*/ 79 w 524"/>
                  <a:gd name="T31" fmla="*/ 124 h 745"/>
                  <a:gd name="T32" fmla="*/ 82 w 524"/>
                  <a:gd name="T33" fmla="*/ 88 h 745"/>
                  <a:gd name="T34" fmla="*/ 78 w 524"/>
                  <a:gd name="T35" fmla="*/ 73 h 745"/>
                  <a:gd name="T36" fmla="*/ 69 w 524"/>
                  <a:gd name="T37" fmla="*/ 41 h 745"/>
                  <a:gd name="T38" fmla="*/ 54 w 524"/>
                  <a:gd name="T39" fmla="*/ 0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4" h="745">
                    <a:moveTo>
                      <a:pt x="54" y="0"/>
                    </a:moveTo>
                    <a:cubicBezTo>
                      <a:pt x="324" y="37"/>
                      <a:pt x="524" y="274"/>
                      <a:pt x="523" y="589"/>
                    </a:cubicBezTo>
                    <a:cubicBezTo>
                      <a:pt x="523" y="609"/>
                      <a:pt x="522" y="630"/>
                      <a:pt x="520" y="650"/>
                    </a:cubicBezTo>
                    <a:cubicBezTo>
                      <a:pt x="518" y="667"/>
                      <a:pt x="514" y="673"/>
                      <a:pt x="504" y="680"/>
                    </a:cubicBezTo>
                    <a:cubicBezTo>
                      <a:pt x="418" y="741"/>
                      <a:pt x="418" y="741"/>
                      <a:pt x="418" y="741"/>
                    </a:cubicBezTo>
                    <a:cubicBezTo>
                      <a:pt x="416" y="742"/>
                      <a:pt x="413" y="743"/>
                      <a:pt x="410" y="743"/>
                    </a:cubicBezTo>
                    <a:cubicBezTo>
                      <a:pt x="402" y="745"/>
                      <a:pt x="392" y="742"/>
                      <a:pt x="387" y="737"/>
                    </a:cubicBezTo>
                    <a:cubicBezTo>
                      <a:pt x="319" y="685"/>
                      <a:pt x="319" y="685"/>
                      <a:pt x="319" y="685"/>
                    </a:cubicBezTo>
                    <a:cubicBezTo>
                      <a:pt x="315" y="683"/>
                      <a:pt x="312" y="678"/>
                      <a:pt x="309" y="674"/>
                    </a:cubicBezTo>
                    <a:cubicBezTo>
                      <a:pt x="309" y="673"/>
                      <a:pt x="308" y="668"/>
                      <a:pt x="308" y="667"/>
                    </a:cubicBezTo>
                    <a:cubicBezTo>
                      <a:pt x="310" y="651"/>
                      <a:pt x="310" y="635"/>
                      <a:pt x="311" y="618"/>
                    </a:cubicBezTo>
                    <a:cubicBezTo>
                      <a:pt x="311" y="410"/>
                      <a:pt x="179" y="253"/>
                      <a:pt x="0" y="229"/>
                    </a:cubicBezTo>
                    <a:cubicBezTo>
                      <a:pt x="4" y="223"/>
                      <a:pt x="15" y="208"/>
                      <a:pt x="28" y="193"/>
                    </a:cubicBezTo>
                    <a:cubicBezTo>
                      <a:pt x="35" y="184"/>
                      <a:pt x="43" y="175"/>
                      <a:pt x="50" y="168"/>
                    </a:cubicBezTo>
                    <a:cubicBezTo>
                      <a:pt x="56" y="161"/>
                      <a:pt x="60" y="156"/>
                      <a:pt x="60" y="156"/>
                    </a:cubicBezTo>
                    <a:cubicBezTo>
                      <a:pt x="68" y="148"/>
                      <a:pt x="75" y="136"/>
                      <a:pt x="79" y="124"/>
                    </a:cubicBezTo>
                    <a:cubicBezTo>
                      <a:pt x="83" y="111"/>
                      <a:pt x="84" y="98"/>
                      <a:pt x="82" y="88"/>
                    </a:cubicBezTo>
                    <a:cubicBezTo>
                      <a:pt x="82" y="87"/>
                      <a:pt x="80" y="82"/>
                      <a:pt x="78" y="73"/>
                    </a:cubicBezTo>
                    <a:cubicBezTo>
                      <a:pt x="76" y="64"/>
                      <a:pt x="73" y="52"/>
                      <a:pt x="69" y="41"/>
                    </a:cubicBezTo>
                    <a:cubicBezTo>
                      <a:pt x="64" y="24"/>
                      <a:pt x="57" y="8"/>
                      <a:pt x="54" y="0"/>
                    </a:cubicBezTo>
                    <a:close/>
                  </a:path>
                </a:pathLst>
              </a:custGeom>
              <a:gradFill>
                <a:gsLst>
                  <a:gs pos="0">
                    <a:schemeClr val="accent2"/>
                  </a:gs>
                  <a:gs pos="100000">
                    <a:schemeClr val="accent2">
                      <a:lumMod val="50000"/>
                    </a:schemeClr>
                  </a:gs>
                </a:gsLst>
                <a:lin ang="6600000" scaled="0"/>
              </a:gradFill>
              <a:ln w="38100">
                <a:noFill/>
              </a:ln>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grpSp>
        <p:grpSp>
          <p:nvGrpSpPr>
            <p:cNvPr id="10" name="Group 9">
              <a:extLst>
                <a:ext uri="{FF2B5EF4-FFF2-40B4-BE49-F238E27FC236}">
                  <a16:creationId xmlns:a16="http://schemas.microsoft.com/office/drawing/2014/main" id="{C1193E8D-A549-5880-4EAF-DBEAD7AEC0AE}"/>
                </a:ext>
              </a:extLst>
            </p:cNvPr>
            <p:cNvGrpSpPr/>
            <p:nvPr/>
          </p:nvGrpSpPr>
          <p:grpSpPr>
            <a:xfrm>
              <a:off x="5307165" y="4423323"/>
              <a:ext cx="1840704" cy="1532332"/>
              <a:chOff x="5743895" y="3815527"/>
              <a:chExt cx="1787704" cy="1488210"/>
            </a:xfrm>
          </p:grpSpPr>
          <p:sp>
            <p:nvSpPr>
              <p:cNvPr id="11" name="Freeform 7">
                <a:extLst>
                  <a:ext uri="{FF2B5EF4-FFF2-40B4-BE49-F238E27FC236}">
                    <a16:creationId xmlns:a16="http://schemas.microsoft.com/office/drawing/2014/main" id="{8B610A7B-3344-AE12-3B49-760577F3CA69}"/>
                  </a:ext>
                </a:extLst>
              </p:cNvPr>
              <p:cNvSpPr>
                <a:spLocks/>
              </p:cNvSpPr>
              <p:nvPr/>
            </p:nvSpPr>
            <p:spPr bwMode="auto">
              <a:xfrm>
                <a:off x="5852592" y="3876813"/>
                <a:ext cx="1679007" cy="1426924"/>
              </a:xfrm>
              <a:custGeom>
                <a:avLst/>
                <a:gdLst>
                  <a:gd name="T0" fmla="*/ 532 w 738"/>
                  <a:gd name="T1" fmla="*/ 0 h 627"/>
                  <a:gd name="T2" fmla="*/ 562 w 738"/>
                  <a:gd name="T3" fmla="*/ 26 h 627"/>
                  <a:gd name="T4" fmla="*/ 583 w 738"/>
                  <a:gd name="T5" fmla="*/ 46 h 627"/>
                  <a:gd name="T6" fmla="*/ 592 w 738"/>
                  <a:gd name="T7" fmla="*/ 57 h 627"/>
                  <a:gd name="T8" fmla="*/ 620 w 738"/>
                  <a:gd name="T9" fmla="*/ 72 h 627"/>
                  <a:gd name="T10" fmla="*/ 642 w 738"/>
                  <a:gd name="T11" fmla="*/ 74 h 627"/>
                  <a:gd name="T12" fmla="*/ 653 w 738"/>
                  <a:gd name="T13" fmla="*/ 71 h 627"/>
                  <a:gd name="T14" fmla="*/ 667 w 738"/>
                  <a:gd name="T15" fmla="*/ 65 h 627"/>
                  <a:gd name="T16" fmla="*/ 698 w 738"/>
                  <a:gd name="T17" fmla="*/ 51 h 627"/>
                  <a:gd name="T18" fmla="*/ 738 w 738"/>
                  <a:gd name="T19" fmla="*/ 29 h 627"/>
                  <a:gd name="T20" fmla="*/ 130 w 738"/>
                  <a:gd name="T21" fmla="*/ 622 h 627"/>
                  <a:gd name="T22" fmla="*/ 73 w 738"/>
                  <a:gd name="T23" fmla="*/ 627 h 627"/>
                  <a:gd name="T24" fmla="*/ 48 w 738"/>
                  <a:gd name="T25" fmla="*/ 613 h 627"/>
                  <a:gd name="T26" fmla="*/ 3 w 738"/>
                  <a:gd name="T27" fmla="*/ 527 h 627"/>
                  <a:gd name="T28" fmla="*/ 11 w 738"/>
                  <a:gd name="T29" fmla="*/ 492 h 627"/>
                  <a:gd name="T30" fmla="*/ 68 w 738"/>
                  <a:gd name="T31" fmla="*/ 411 h 627"/>
                  <a:gd name="T32" fmla="*/ 80 w 738"/>
                  <a:gd name="T33" fmla="*/ 398 h 627"/>
                  <a:gd name="T34" fmla="*/ 86 w 738"/>
                  <a:gd name="T35" fmla="*/ 396 h 627"/>
                  <a:gd name="T36" fmla="*/ 131 w 738"/>
                  <a:gd name="T37" fmla="*/ 392 h 627"/>
                  <a:gd name="T38" fmla="*/ 532 w 738"/>
                  <a:gd name="T39" fmla="*/ 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8" h="627">
                    <a:moveTo>
                      <a:pt x="532" y="0"/>
                    </a:moveTo>
                    <a:cubicBezTo>
                      <a:pt x="537" y="4"/>
                      <a:pt x="550" y="14"/>
                      <a:pt x="562" y="26"/>
                    </a:cubicBezTo>
                    <a:cubicBezTo>
                      <a:pt x="570" y="33"/>
                      <a:pt x="577" y="41"/>
                      <a:pt x="583" y="46"/>
                    </a:cubicBezTo>
                    <a:cubicBezTo>
                      <a:pt x="589" y="52"/>
                      <a:pt x="592" y="56"/>
                      <a:pt x="592" y="57"/>
                    </a:cubicBezTo>
                    <a:cubicBezTo>
                      <a:pt x="599" y="64"/>
                      <a:pt x="609" y="70"/>
                      <a:pt x="620" y="72"/>
                    </a:cubicBezTo>
                    <a:cubicBezTo>
                      <a:pt x="627" y="74"/>
                      <a:pt x="635" y="75"/>
                      <a:pt x="642" y="74"/>
                    </a:cubicBezTo>
                    <a:cubicBezTo>
                      <a:pt x="646" y="73"/>
                      <a:pt x="649" y="72"/>
                      <a:pt x="653" y="71"/>
                    </a:cubicBezTo>
                    <a:cubicBezTo>
                      <a:pt x="653" y="71"/>
                      <a:pt x="658" y="69"/>
                      <a:pt x="667" y="65"/>
                    </a:cubicBezTo>
                    <a:cubicBezTo>
                      <a:pt x="675" y="61"/>
                      <a:pt x="687" y="56"/>
                      <a:pt x="698" y="51"/>
                    </a:cubicBezTo>
                    <a:cubicBezTo>
                      <a:pt x="714" y="43"/>
                      <a:pt x="730" y="34"/>
                      <a:pt x="738" y="29"/>
                    </a:cubicBezTo>
                    <a:cubicBezTo>
                      <a:pt x="668" y="331"/>
                      <a:pt x="422" y="581"/>
                      <a:pt x="130" y="622"/>
                    </a:cubicBezTo>
                    <a:cubicBezTo>
                      <a:pt x="111" y="625"/>
                      <a:pt x="92" y="626"/>
                      <a:pt x="73" y="627"/>
                    </a:cubicBezTo>
                    <a:cubicBezTo>
                      <a:pt x="58" y="627"/>
                      <a:pt x="54" y="623"/>
                      <a:pt x="48" y="613"/>
                    </a:cubicBezTo>
                    <a:cubicBezTo>
                      <a:pt x="3" y="527"/>
                      <a:pt x="3" y="527"/>
                      <a:pt x="3" y="527"/>
                    </a:cubicBezTo>
                    <a:cubicBezTo>
                      <a:pt x="0" y="517"/>
                      <a:pt x="3" y="501"/>
                      <a:pt x="11" y="492"/>
                    </a:cubicBezTo>
                    <a:cubicBezTo>
                      <a:pt x="68" y="411"/>
                      <a:pt x="68" y="411"/>
                      <a:pt x="68" y="411"/>
                    </a:cubicBezTo>
                    <a:cubicBezTo>
                      <a:pt x="70" y="406"/>
                      <a:pt x="75" y="402"/>
                      <a:pt x="80" y="398"/>
                    </a:cubicBezTo>
                    <a:cubicBezTo>
                      <a:pt x="81" y="398"/>
                      <a:pt x="85" y="396"/>
                      <a:pt x="86" y="396"/>
                    </a:cubicBezTo>
                    <a:cubicBezTo>
                      <a:pt x="101" y="396"/>
                      <a:pt x="116" y="395"/>
                      <a:pt x="131" y="392"/>
                    </a:cubicBezTo>
                    <a:cubicBezTo>
                      <a:pt x="324" y="365"/>
                      <a:pt x="486" y="200"/>
                      <a:pt x="532" y="0"/>
                    </a:cubicBezTo>
                    <a:close/>
                  </a:path>
                </a:pathLst>
              </a:custGeom>
              <a:gradFill>
                <a:gsLst>
                  <a:gs pos="0">
                    <a:schemeClr val="accent3"/>
                  </a:gs>
                  <a:gs pos="100000">
                    <a:schemeClr val="accent3">
                      <a:lumMod val="75000"/>
                    </a:schemeClr>
                  </a:gs>
                </a:gsLst>
                <a:lin ang="6600000" scaled="0"/>
              </a:gradFill>
              <a:ln w="38100">
                <a:noFill/>
              </a:ln>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sp>
            <p:nvSpPr>
              <p:cNvPr id="12" name="Freeform 8">
                <a:extLst>
                  <a:ext uri="{FF2B5EF4-FFF2-40B4-BE49-F238E27FC236}">
                    <a16:creationId xmlns:a16="http://schemas.microsoft.com/office/drawing/2014/main" id="{CC697A44-2E82-3B47-F960-4D0533FA0B4A}"/>
                  </a:ext>
                </a:extLst>
              </p:cNvPr>
              <p:cNvSpPr>
                <a:spLocks noEditPoints="1"/>
              </p:cNvSpPr>
              <p:nvPr/>
            </p:nvSpPr>
            <p:spPr bwMode="auto">
              <a:xfrm>
                <a:off x="5743895" y="3815527"/>
                <a:ext cx="1787703" cy="1481272"/>
              </a:xfrm>
              <a:custGeom>
                <a:avLst/>
                <a:gdLst>
                  <a:gd name="T0" fmla="*/ 737 w 786"/>
                  <a:gd name="T1" fmla="*/ 82 h 651"/>
                  <a:gd name="T2" fmla="*/ 721 w 786"/>
                  <a:gd name="T3" fmla="*/ 90 h 651"/>
                  <a:gd name="T4" fmla="*/ 668 w 786"/>
                  <a:gd name="T5" fmla="*/ 99 h 651"/>
                  <a:gd name="T6" fmla="*/ 656 w 786"/>
                  <a:gd name="T7" fmla="*/ 95 h 651"/>
                  <a:gd name="T8" fmla="*/ 611 w 786"/>
                  <a:gd name="T9" fmla="*/ 70 h 651"/>
                  <a:gd name="T10" fmla="*/ 665 w 786"/>
                  <a:gd name="T11" fmla="*/ 65 h 651"/>
                  <a:gd name="T12" fmla="*/ 680 w 786"/>
                  <a:gd name="T13" fmla="*/ 58 h 651"/>
                  <a:gd name="T14" fmla="*/ 786 w 786"/>
                  <a:gd name="T15" fmla="*/ 56 h 651"/>
                  <a:gd name="T16" fmla="*/ 519 w 786"/>
                  <a:gd name="T17" fmla="*/ 41 h 651"/>
                  <a:gd name="T18" fmla="*/ 507 w 786"/>
                  <a:gd name="T19" fmla="*/ 77 h 651"/>
                  <a:gd name="T20" fmla="*/ 491 w 786"/>
                  <a:gd name="T21" fmla="*/ 112 h 651"/>
                  <a:gd name="T22" fmla="*/ 474 w 786"/>
                  <a:gd name="T23" fmla="*/ 144 h 651"/>
                  <a:gd name="T24" fmla="*/ 456 w 786"/>
                  <a:gd name="T25" fmla="*/ 174 h 651"/>
                  <a:gd name="T26" fmla="*/ 432 w 786"/>
                  <a:gd name="T27" fmla="*/ 208 h 651"/>
                  <a:gd name="T28" fmla="*/ 410 w 786"/>
                  <a:gd name="T29" fmla="*/ 234 h 651"/>
                  <a:gd name="T30" fmla="*/ 383 w 786"/>
                  <a:gd name="T31" fmla="*/ 263 h 651"/>
                  <a:gd name="T32" fmla="*/ 357 w 786"/>
                  <a:gd name="T33" fmla="*/ 287 h 651"/>
                  <a:gd name="T34" fmla="*/ 325 w 786"/>
                  <a:gd name="T35" fmla="*/ 311 h 651"/>
                  <a:gd name="T36" fmla="*/ 290 w 786"/>
                  <a:gd name="T37" fmla="*/ 335 h 651"/>
                  <a:gd name="T38" fmla="*/ 250 w 786"/>
                  <a:gd name="T39" fmla="*/ 356 h 651"/>
                  <a:gd name="T40" fmla="*/ 213 w 786"/>
                  <a:gd name="T41" fmla="*/ 372 h 651"/>
                  <a:gd name="T42" fmla="*/ 180 w 786"/>
                  <a:gd name="T43" fmla="*/ 382 h 651"/>
                  <a:gd name="T44" fmla="*/ 146 w 786"/>
                  <a:gd name="T45" fmla="*/ 390 h 651"/>
                  <a:gd name="T46" fmla="*/ 83 w 786"/>
                  <a:gd name="T47" fmla="*/ 397 h 651"/>
                  <a:gd name="T48" fmla="*/ 79 w 786"/>
                  <a:gd name="T49" fmla="*/ 398 h 651"/>
                  <a:gd name="T50" fmla="*/ 78 w 786"/>
                  <a:gd name="T51" fmla="*/ 399 h 651"/>
                  <a:gd name="T52" fmla="*/ 73 w 786"/>
                  <a:gd name="T53" fmla="*/ 403 h 651"/>
                  <a:gd name="T54" fmla="*/ 68 w 786"/>
                  <a:gd name="T55" fmla="*/ 408 h 651"/>
                  <a:gd name="T56" fmla="*/ 8 w 786"/>
                  <a:gd name="T57" fmla="*/ 493 h 651"/>
                  <a:gd name="T58" fmla="*/ 5 w 786"/>
                  <a:gd name="T59" fmla="*/ 498 h 651"/>
                  <a:gd name="T60" fmla="*/ 1 w 786"/>
                  <a:gd name="T61" fmla="*/ 509 h 651"/>
                  <a:gd name="T62" fmla="*/ 0 w 786"/>
                  <a:gd name="T63" fmla="*/ 520 h 651"/>
                  <a:gd name="T64" fmla="*/ 48 w 786"/>
                  <a:gd name="T65" fmla="*/ 617 h 651"/>
                  <a:gd name="T66" fmla="*/ 51 w 786"/>
                  <a:gd name="T67" fmla="*/ 554 h 651"/>
                  <a:gd name="T68" fmla="*/ 50 w 786"/>
                  <a:gd name="T69" fmla="*/ 542 h 651"/>
                  <a:gd name="T70" fmla="*/ 53 w 786"/>
                  <a:gd name="T71" fmla="*/ 529 h 651"/>
                  <a:gd name="T72" fmla="*/ 59 w 786"/>
                  <a:gd name="T73" fmla="*/ 519 h 651"/>
                  <a:gd name="T74" fmla="*/ 120 w 786"/>
                  <a:gd name="T75" fmla="*/ 432 h 651"/>
                  <a:gd name="T76" fmla="*/ 128 w 786"/>
                  <a:gd name="T77" fmla="*/ 425 h 651"/>
                  <a:gd name="T78" fmla="*/ 131 w 786"/>
                  <a:gd name="T79" fmla="*/ 424 h 651"/>
                  <a:gd name="T80" fmla="*/ 179 w 786"/>
                  <a:gd name="T81" fmla="*/ 419 h 651"/>
                  <a:gd name="T82" fmla="*/ 219 w 786"/>
                  <a:gd name="T83" fmla="*/ 412 h 651"/>
                  <a:gd name="T84" fmla="*/ 252 w 786"/>
                  <a:gd name="T85" fmla="*/ 402 h 651"/>
                  <a:gd name="T86" fmla="*/ 284 w 786"/>
                  <a:gd name="T87" fmla="*/ 390 h 651"/>
                  <a:gd name="T88" fmla="*/ 322 w 786"/>
                  <a:gd name="T89" fmla="*/ 372 h 651"/>
                  <a:gd name="T90" fmla="*/ 356 w 786"/>
                  <a:gd name="T91" fmla="*/ 351 h 651"/>
                  <a:gd name="T92" fmla="*/ 379 w 786"/>
                  <a:gd name="T93" fmla="*/ 336 h 651"/>
                  <a:gd name="T94" fmla="*/ 411 w 786"/>
                  <a:gd name="T95" fmla="*/ 310 h 651"/>
                  <a:gd name="T96" fmla="*/ 432 w 786"/>
                  <a:gd name="T97" fmla="*/ 290 h 651"/>
                  <a:gd name="T98" fmla="*/ 459 w 786"/>
                  <a:gd name="T99" fmla="*/ 262 h 651"/>
                  <a:gd name="T100" fmla="*/ 475 w 786"/>
                  <a:gd name="T101" fmla="*/ 244 h 651"/>
                  <a:gd name="T102" fmla="*/ 496 w 786"/>
                  <a:gd name="T103" fmla="*/ 216 h 651"/>
                  <a:gd name="T104" fmla="*/ 515 w 786"/>
                  <a:gd name="T105" fmla="*/ 186 h 651"/>
                  <a:gd name="T106" fmla="*/ 530 w 786"/>
                  <a:gd name="T107" fmla="*/ 160 h 651"/>
                  <a:gd name="T108" fmla="*/ 545 w 786"/>
                  <a:gd name="T109" fmla="*/ 130 h 651"/>
                  <a:gd name="T110" fmla="*/ 560 w 786"/>
                  <a:gd name="T111" fmla="*/ 95 h 651"/>
                  <a:gd name="T112" fmla="*/ 569 w 786"/>
                  <a:gd name="T113" fmla="*/ 68 h 651"/>
                  <a:gd name="T114" fmla="*/ 580 w 786"/>
                  <a:gd name="T115" fmla="*/ 27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6" h="651">
                    <a:moveTo>
                      <a:pt x="786" y="56"/>
                    </a:moveTo>
                    <a:cubicBezTo>
                      <a:pt x="778" y="61"/>
                      <a:pt x="762" y="70"/>
                      <a:pt x="746" y="78"/>
                    </a:cubicBezTo>
                    <a:cubicBezTo>
                      <a:pt x="743" y="79"/>
                      <a:pt x="740" y="81"/>
                      <a:pt x="737" y="82"/>
                    </a:cubicBezTo>
                    <a:cubicBezTo>
                      <a:pt x="737" y="82"/>
                      <a:pt x="737" y="82"/>
                      <a:pt x="737" y="82"/>
                    </a:cubicBezTo>
                    <a:cubicBezTo>
                      <a:pt x="734" y="83"/>
                      <a:pt x="732" y="84"/>
                      <a:pt x="730" y="85"/>
                    </a:cubicBezTo>
                    <a:cubicBezTo>
                      <a:pt x="729" y="86"/>
                      <a:pt x="729" y="86"/>
                      <a:pt x="728" y="86"/>
                    </a:cubicBezTo>
                    <a:cubicBezTo>
                      <a:pt x="726" y="87"/>
                      <a:pt x="724" y="88"/>
                      <a:pt x="723" y="89"/>
                    </a:cubicBezTo>
                    <a:cubicBezTo>
                      <a:pt x="722" y="89"/>
                      <a:pt x="721" y="89"/>
                      <a:pt x="721" y="90"/>
                    </a:cubicBezTo>
                    <a:cubicBezTo>
                      <a:pt x="719" y="90"/>
                      <a:pt x="717" y="91"/>
                      <a:pt x="715" y="92"/>
                    </a:cubicBezTo>
                    <a:cubicBezTo>
                      <a:pt x="706" y="96"/>
                      <a:pt x="701" y="98"/>
                      <a:pt x="701" y="98"/>
                    </a:cubicBezTo>
                    <a:cubicBezTo>
                      <a:pt x="697" y="99"/>
                      <a:pt x="694" y="100"/>
                      <a:pt x="690" y="101"/>
                    </a:cubicBezTo>
                    <a:cubicBezTo>
                      <a:pt x="683" y="102"/>
                      <a:pt x="675" y="101"/>
                      <a:pt x="668" y="99"/>
                    </a:cubicBezTo>
                    <a:cubicBezTo>
                      <a:pt x="668" y="99"/>
                      <a:pt x="668" y="99"/>
                      <a:pt x="668" y="99"/>
                    </a:cubicBezTo>
                    <a:cubicBezTo>
                      <a:pt x="665" y="99"/>
                      <a:pt x="663" y="98"/>
                      <a:pt x="661" y="97"/>
                    </a:cubicBezTo>
                    <a:cubicBezTo>
                      <a:pt x="660" y="97"/>
                      <a:pt x="660" y="97"/>
                      <a:pt x="659" y="96"/>
                    </a:cubicBezTo>
                    <a:cubicBezTo>
                      <a:pt x="658" y="96"/>
                      <a:pt x="657" y="96"/>
                      <a:pt x="656" y="95"/>
                    </a:cubicBezTo>
                    <a:cubicBezTo>
                      <a:pt x="655" y="95"/>
                      <a:pt x="654" y="94"/>
                      <a:pt x="654" y="94"/>
                    </a:cubicBezTo>
                    <a:cubicBezTo>
                      <a:pt x="604" y="67"/>
                      <a:pt x="604" y="67"/>
                      <a:pt x="604" y="67"/>
                    </a:cubicBezTo>
                    <a:cubicBezTo>
                      <a:pt x="606" y="68"/>
                      <a:pt x="608" y="69"/>
                      <a:pt x="609" y="69"/>
                    </a:cubicBezTo>
                    <a:cubicBezTo>
                      <a:pt x="610" y="70"/>
                      <a:pt x="611" y="70"/>
                      <a:pt x="611" y="70"/>
                    </a:cubicBezTo>
                    <a:cubicBezTo>
                      <a:pt x="614" y="71"/>
                      <a:pt x="616" y="72"/>
                      <a:pt x="618" y="72"/>
                    </a:cubicBezTo>
                    <a:cubicBezTo>
                      <a:pt x="625" y="74"/>
                      <a:pt x="633" y="75"/>
                      <a:pt x="640" y="74"/>
                    </a:cubicBezTo>
                    <a:cubicBezTo>
                      <a:pt x="644" y="73"/>
                      <a:pt x="648" y="72"/>
                      <a:pt x="651" y="71"/>
                    </a:cubicBezTo>
                    <a:cubicBezTo>
                      <a:pt x="651" y="71"/>
                      <a:pt x="657" y="69"/>
                      <a:pt x="665" y="65"/>
                    </a:cubicBezTo>
                    <a:cubicBezTo>
                      <a:pt x="667" y="64"/>
                      <a:pt x="669" y="63"/>
                      <a:pt x="671" y="63"/>
                    </a:cubicBezTo>
                    <a:cubicBezTo>
                      <a:pt x="672" y="62"/>
                      <a:pt x="672" y="62"/>
                      <a:pt x="673" y="62"/>
                    </a:cubicBezTo>
                    <a:cubicBezTo>
                      <a:pt x="675" y="61"/>
                      <a:pt x="676" y="60"/>
                      <a:pt x="678" y="59"/>
                    </a:cubicBezTo>
                    <a:cubicBezTo>
                      <a:pt x="679" y="59"/>
                      <a:pt x="680" y="59"/>
                      <a:pt x="680" y="58"/>
                    </a:cubicBezTo>
                    <a:cubicBezTo>
                      <a:pt x="683" y="57"/>
                      <a:pt x="685" y="56"/>
                      <a:pt x="687" y="55"/>
                    </a:cubicBezTo>
                    <a:cubicBezTo>
                      <a:pt x="690" y="54"/>
                      <a:pt x="693" y="52"/>
                      <a:pt x="696" y="51"/>
                    </a:cubicBezTo>
                    <a:cubicBezTo>
                      <a:pt x="712" y="43"/>
                      <a:pt x="728" y="34"/>
                      <a:pt x="736" y="29"/>
                    </a:cubicBezTo>
                    <a:lnTo>
                      <a:pt x="786" y="56"/>
                    </a:lnTo>
                    <a:close/>
                    <a:moveTo>
                      <a:pt x="526" y="18"/>
                    </a:moveTo>
                    <a:cubicBezTo>
                      <a:pt x="526" y="20"/>
                      <a:pt x="525" y="21"/>
                      <a:pt x="525" y="23"/>
                    </a:cubicBezTo>
                    <a:cubicBezTo>
                      <a:pt x="524" y="27"/>
                      <a:pt x="523" y="31"/>
                      <a:pt x="521" y="35"/>
                    </a:cubicBezTo>
                    <a:cubicBezTo>
                      <a:pt x="521" y="37"/>
                      <a:pt x="520" y="39"/>
                      <a:pt x="519" y="41"/>
                    </a:cubicBezTo>
                    <a:cubicBezTo>
                      <a:pt x="518" y="45"/>
                      <a:pt x="517" y="49"/>
                      <a:pt x="516" y="52"/>
                    </a:cubicBezTo>
                    <a:cubicBezTo>
                      <a:pt x="515" y="54"/>
                      <a:pt x="514" y="57"/>
                      <a:pt x="514" y="59"/>
                    </a:cubicBezTo>
                    <a:cubicBezTo>
                      <a:pt x="512" y="62"/>
                      <a:pt x="511" y="65"/>
                      <a:pt x="510" y="68"/>
                    </a:cubicBezTo>
                    <a:cubicBezTo>
                      <a:pt x="509" y="71"/>
                      <a:pt x="508" y="74"/>
                      <a:pt x="507" y="77"/>
                    </a:cubicBezTo>
                    <a:cubicBezTo>
                      <a:pt x="505" y="80"/>
                      <a:pt x="504" y="83"/>
                      <a:pt x="503" y="86"/>
                    </a:cubicBezTo>
                    <a:cubicBezTo>
                      <a:pt x="502" y="89"/>
                      <a:pt x="501" y="92"/>
                      <a:pt x="499" y="95"/>
                    </a:cubicBezTo>
                    <a:cubicBezTo>
                      <a:pt x="498" y="98"/>
                      <a:pt x="497" y="101"/>
                      <a:pt x="495" y="103"/>
                    </a:cubicBezTo>
                    <a:cubicBezTo>
                      <a:pt x="494" y="106"/>
                      <a:pt x="493" y="109"/>
                      <a:pt x="491" y="112"/>
                    </a:cubicBezTo>
                    <a:cubicBezTo>
                      <a:pt x="490" y="115"/>
                      <a:pt x="488" y="118"/>
                      <a:pt x="487" y="121"/>
                    </a:cubicBezTo>
                    <a:cubicBezTo>
                      <a:pt x="486" y="123"/>
                      <a:pt x="484" y="126"/>
                      <a:pt x="483" y="129"/>
                    </a:cubicBezTo>
                    <a:cubicBezTo>
                      <a:pt x="481" y="132"/>
                      <a:pt x="479" y="135"/>
                      <a:pt x="478" y="138"/>
                    </a:cubicBezTo>
                    <a:cubicBezTo>
                      <a:pt x="477" y="140"/>
                      <a:pt x="476" y="142"/>
                      <a:pt x="474" y="144"/>
                    </a:cubicBezTo>
                    <a:cubicBezTo>
                      <a:pt x="473" y="148"/>
                      <a:pt x="471" y="151"/>
                      <a:pt x="468" y="154"/>
                    </a:cubicBezTo>
                    <a:cubicBezTo>
                      <a:pt x="467" y="156"/>
                      <a:pt x="466" y="158"/>
                      <a:pt x="465" y="159"/>
                    </a:cubicBezTo>
                    <a:cubicBezTo>
                      <a:pt x="463" y="164"/>
                      <a:pt x="460" y="168"/>
                      <a:pt x="457" y="173"/>
                    </a:cubicBezTo>
                    <a:cubicBezTo>
                      <a:pt x="457" y="173"/>
                      <a:pt x="456" y="174"/>
                      <a:pt x="456" y="174"/>
                    </a:cubicBezTo>
                    <a:cubicBezTo>
                      <a:pt x="453" y="179"/>
                      <a:pt x="449" y="184"/>
                      <a:pt x="446" y="189"/>
                    </a:cubicBezTo>
                    <a:cubicBezTo>
                      <a:pt x="445" y="190"/>
                      <a:pt x="444" y="191"/>
                      <a:pt x="443" y="193"/>
                    </a:cubicBezTo>
                    <a:cubicBezTo>
                      <a:pt x="441" y="196"/>
                      <a:pt x="438" y="199"/>
                      <a:pt x="436" y="203"/>
                    </a:cubicBezTo>
                    <a:cubicBezTo>
                      <a:pt x="435" y="204"/>
                      <a:pt x="433" y="206"/>
                      <a:pt x="432" y="208"/>
                    </a:cubicBezTo>
                    <a:cubicBezTo>
                      <a:pt x="430" y="211"/>
                      <a:pt x="427" y="214"/>
                      <a:pt x="425" y="217"/>
                    </a:cubicBezTo>
                    <a:cubicBezTo>
                      <a:pt x="424" y="218"/>
                      <a:pt x="423" y="220"/>
                      <a:pt x="421" y="221"/>
                    </a:cubicBezTo>
                    <a:cubicBezTo>
                      <a:pt x="418" y="225"/>
                      <a:pt x="416" y="228"/>
                      <a:pt x="413" y="232"/>
                    </a:cubicBezTo>
                    <a:cubicBezTo>
                      <a:pt x="412" y="232"/>
                      <a:pt x="411" y="233"/>
                      <a:pt x="410" y="234"/>
                    </a:cubicBezTo>
                    <a:cubicBezTo>
                      <a:pt x="406" y="239"/>
                      <a:pt x="403" y="243"/>
                      <a:pt x="399" y="247"/>
                    </a:cubicBezTo>
                    <a:cubicBezTo>
                      <a:pt x="398" y="248"/>
                      <a:pt x="397" y="249"/>
                      <a:pt x="396" y="250"/>
                    </a:cubicBezTo>
                    <a:cubicBezTo>
                      <a:pt x="393" y="253"/>
                      <a:pt x="390" y="256"/>
                      <a:pt x="387" y="259"/>
                    </a:cubicBezTo>
                    <a:cubicBezTo>
                      <a:pt x="385" y="261"/>
                      <a:pt x="384" y="262"/>
                      <a:pt x="383" y="263"/>
                    </a:cubicBezTo>
                    <a:cubicBezTo>
                      <a:pt x="380" y="266"/>
                      <a:pt x="377" y="269"/>
                      <a:pt x="374" y="271"/>
                    </a:cubicBezTo>
                    <a:cubicBezTo>
                      <a:pt x="373" y="273"/>
                      <a:pt x="371" y="274"/>
                      <a:pt x="370" y="275"/>
                    </a:cubicBezTo>
                    <a:cubicBezTo>
                      <a:pt x="367" y="278"/>
                      <a:pt x="364" y="281"/>
                      <a:pt x="361" y="283"/>
                    </a:cubicBezTo>
                    <a:cubicBezTo>
                      <a:pt x="360" y="284"/>
                      <a:pt x="358" y="286"/>
                      <a:pt x="357" y="287"/>
                    </a:cubicBezTo>
                    <a:cubicBezTo>
                      <a:pt x="353" y="290"/>
                      <a:pt x="349" y="293"/>
                      <a:pt x="346" y="296"/>
                    </a:cubicBezTo>
                    <a:cubicBezTo>
                      <a:pt x="345" y="297"/>
                      <a:pt x="344" y="297"/>
                      <a:pt x="343" y="298"/>
                    </a:cubicBezTo>
                    <a:cubicBezTo>
                      <a:pt x="339" y="302"/>
                      <a:pt x="334" y="305"/>
                      <a:pt x="330" y="309"/>
                    </a:cubicBezTo>
                    <a:cubicBezTo>
                      <a:pt x="328" y="310"/>
                      <a:pt x="327" y="311"/>
                      <a:pt x="325" y="311"/>
                    </a:cubicBezTo>
                    <a:cubicBezTo>
                      <a:pt x="322" y="314"/>
                      <a:pt x="319" y="316"/>
                      <a:pt x="316" y="318"/>
                    </a:cubicBezTo>
                    <a:cubicBezTo>
                      <a:pt x="313" y="320"/>
                      <a:pt x="310" y="322"/>
                      <a:pt x="307" y="324"/>
                    </a:cubicBezTo>
                    <a:cubicBezTo>
                      <a:pt x="304" y="326"/>
                      <a:pt x="302" y="327"/>
                      <a:pt x="300" y="329"/>
                    </a:cubicBezTo>
                    <a:cubicBezTo>
                      <a:pt x="297" y="331"/>
                      <a:pt x="293" y="333"/>
                      <a:pt x="290" y="335"/>
                    </a:cubicBezTo>
                    <a:cubicBezTo>
                      <a:pt x="288" y="336"/>
                      <a:pt x="286" y="337"/>
                      <a:pt x="284" y="339"/>
                    </a:cubicBezTo>
                    <a:cubicBezTo>
                      <a:pt x="280" y="341"/>
                      <a:pt x="276" y="343"/>
                      <a:pt x="272" y="345"/>
                    </a:cubicBezTo>
                    <a:cubicBezTo>
                      <a:pt x="271" y="346"/>
                      <a:pt x="269" y="347"/>
                      <a:pt x="267" y="348"/>
                    </a:cubicBezTo>
                    <a:cubicBezTo>
                      <a:pt x="262" y="351"/>
                      <a:pt x="256" y="353"/>
                      <a:pt x="250" y="356"/>
                    </a:cubicBezTo>
                    <a:cubicBezTo>
                      <a:pt x="245" y="358"/>
                      <a:pt x="240" y="361"/>
                      <a:pt x="235" y="363"/>
                    </a:cubicBezTo>
                    <a:cubicBezTo>
                      <a:pt x="233" y="364"/>
                      <a:pt x="231" y="364"/>
                      <a:pt x="230" y="365"/>
                    </a:cubicBezTo>
                    <a:cubicBezTo>
                      <a:pt x="226" y="366"/>
                      <a:pt x="223" y="368"/>
                      <a:pt x="219" y="369"/>
                    </a:cubicBezTo>
                    <a:cubicBezTo>
                      <a:pt x="217" y="370"/>
                      <a:pt x="215" y="371"/>
                      <a:pt x="213" y="372"/>
                    </a:cubicBezTo>
                    <a:cubicBezTo>
                      <a:pt x="209" y="373"/>
                      <a:pt x="206" y="374"/>
                      <a:pt x="203" y="375"/>
                    </a:cubicBezTo>
                    <a:cubicBezTo>
                      <a:pt x="201" y="376"/>
                      <a:pt x="198" y="376"/>
                      <a:pt x="196" y="377"/>
                    </a:cubicBezTo>
                    <a:cubicBezTo>
                      <a:pt x="193" y="378"/>
                      <a:pt x="190" y="379"/>
                      <a:pt x="186" y="380"/>
                    </a:cubicBezTo>
                    <a:cubicBezTo>
                      <a:pt x="184" y="381"/>
                      <a:pt x="182" y="381"/>
                      <a:pt x="180" y="382"/>
                    </a:cubicBezTo>
                    <a:cubicBezTo>
                      <a:pt x="176" y="383"/>
                      <a:pt x="173" y="384"/>
                      <a:pt x="169" y="385"/>
                    </a:cubicBezTo>
                    <a:cubicBezTo>
                      <a:pt x="167" y="385"/>
                      <a:pt x="165" y="386"/>
                      <a:pt x="163" y="386"/>
                    </a:cubicBezTo>
                    <a:cubicBezTo>
                      <a:pt x="159" y="387"/>
                      <a:pt x="155" y="388"/>
                      <a:pt x="152" y="389"/>
                    </a:cubicBezTo>
                    <a:cubicBezTo>
                      <a:pt x="150" y="389"/>
                      <a:pt x="148" y="389"/>
                      <a:pt x="146" y="390"/>
                    </a:cubicBezTo>
                    <a:cubicBezTo>
                      <a:pt x="140" y="391"/>
                      <a:pt x="135" y="392"/>
                      <a:pt x="129" y="392"/>
                    </a:cubicBezTo>
                    <a:cubicBezTo>
                      <a:pt x="114" y="395"/>
                      <a:pt x="99" y="396"/>
                      <a:pt x="84" y="396"/>
                    </a:cubicBezTo>
                    <a:cubicBezTo>
                      <a:pt x="84" y="396"/>
                      <a:pt x="84" y="396"/>
                      <a:pt x="83" y="397"/>
                    </a:cubicBezTo>
                    <a:cubicBezTo>
                      <a:pt x="83" y="397"/>
                      <a:pt x="83" y="397"/>
                      <a:pt x="83" y="397"/>
                    </a:cubicBezTo>
                    <a:cubicBezTo>
                      <a:pt x="82" y="397"/>
                      <a:pt x="82" y="397"/>
                      <a:pt x="81" y="397"/>
                    </a:cubicBezTo>
                    <a:cubicBezTo>
                      <a:pt x="81" y="397"/>
                      <a:pt x="81" y="397"/>
                      <a:pt x="81" y="397"/>
                    </a:cubicBezTo>
                    <a:cubicBezTo>
                      <a:pt x="80" y="397"/>
                      <a:pt x="80" y="397"/>
                      <a:pt x="80" y="398"/>
                    </a:cubicBezTo>
                    <a:cubicBezTo>
                      <a:pt x="79" y="398"/>
                      <a:pt x="79" y="398"/>
                      <a:pt x="79" y="398"/>
                    </a:cubicBezTo>
                    <a:cubicBezTo>
                      <a:pt x="79" y="398"/>
                      <a:pt x="79" y="398"/>
                      <a:pt x="79" y="398"/>
                    </a:cubicBezTo>
                    <a:cubicBezTo>
                      <a:pt x="78" y="398"/>
                      <a:pt x="78" y="398"/>
                      <a:pt x="78" y="398"/>
                    </a:cubicBezTo>
                    <a:cubicBezTo>
                      <a:pt x="78" y="398"/>
                      <a:pt x="78" y="398"/>
                      <a:pt x="78" y="398"/>
                    </a:cubicBezTo>
                    <a:cubicBezTo>
                      <a:pt x="78" y="398"/>
                      <a:pt x="78" y="398"/>
                      <a:pt x="78" y="399"/>
                    </a:cubicBezTo>
                    <a:cubicBezTo>
                      <a:pt x="78" y="399"/>
                      <a:pt x="77" y="399"/>
                      <a:pt x="77" y="399"/>
                    </a:cubicBezTo>
                    <a:cubicBezTo>
                      <a:pt x="76" y="400"/>
                      <a:pt x="75" y="401"/>
                      <a:pt x="74" y="401"/>
                    </a:cubicBezTo>
                    <a:cubicBezTo>
                      <a:pt x="74" y="402"/>
                      <a:pt x="74" y="402"/>
                      <a:pt x="74" y="402"/>
                    </a:cubicBezTo>
                    <a:cubicBezTo>
                      <a:pt x="73" y="402"/>
                      <a:pt x="73" y="402"/>
                      <a:pt x="73" y="403"/>
                    </a:cubicBezTo>
                    <a:cubicBezTo>
                      <a:pt x="72" y="403"/>
                      <a:pt x="71" y="404"/>
                      <a:pt x="71" y="405"/>
                    </a:cubicBezTo>
                    <a:cubicBezTo>
                      <a:pt x="70" y="405"/>
                      <a:pt x="70" y="405"/>
                      <a:pt x="70" y="405"/>
                    </a:cubicBezTo>
                    <a:cubicBezTo>
                      <a:pt x="70" y="406"/>
                      <a:pt x="70" y="406"/>
                      <a:pt x="69" y="406"/>
                    </a:cubicBezTo>
                    <a:cubicBezTo>
                      <a:pt x="69" y="407"/>
                      <a:pt x="68" y="408"/>
                      <a:pt x="68" y="408"/>
                    </a:cubicBezTo>
                    <a:cubicBezTo>
                      <a:pt x="68" y="409"/>
                      <a:pt x="67" y="409"/>
                      <a:pt x="67" y="409"/>
                    </a:cubicBezTo>
                    <a:cubicBezTo>
                      <a:pt x="67" y="410"/>
                      <a:pt x="66" y="410"/>
                      <a:pt x="66" y="411"/>
                    </a:cubicBezTo>
                    <a:cubicBezTo>
                      <a:pt x="9" y="492"/>
                      <a:pt x="9" y="492"/>
                      <a:pt x="9" y="492"/>
                    </a:cubicBezTo>
                    <a:cubicBezTo>
                      <a:pt x="9" y="492"/>
                      <a:pt x="8" y="493"/>
                      <a:pt x="8" y="493"/>
                    </a:cubicBezTo>
                    <a:cubicBezTo>
                      <a:pt x="8" y="494"/>
                      <a:pt x="7" y="494"/>
                      <a:pt x="7" y="495"/>
                    </a:cubicBezTo>
                    <a:cubicBezTo>
                      <a:pt x="7" y="495"/>
                      <a:pt x="6" y="496"/>
                      <a:pt x="6" y="496"/>
                    </a:cubicBezTo>
                    <a:cubicBezTo>
                      <a:pt x="6" y="497"/>
                      <a:pt x="6" y="497"/>
                      <a:pt x="6" y="497"/>
                    </a:cubicBezTo>
                    <a:cubicBezTo>
                      <a:pt x="5" y="498"/>
                      <a:pt x="5" y="498"/>
                      <a:pt x="5" y="498"/>
                    </a:cubicBezTo>
                    <a:cubicBezTo>
                      <a:pt x="5" y="499"/>
                      <a:pt x="4" y="501"/>
                      <a:pt x="3" y="502"/>
                    </a:cubicBezTo>
                    <a:cubicBezTo>
                      <a:pt x="3" y="502"/>
                      <a:pt x="3" y="503"/>
                      <a:pt x="3" y="503"/>
                    </a:cubicBezTo>
                    <a:cubicBezTo>
                      <a:pt x="3" y="503"/>
                      <a:pt x="3" y="503"/>
                      <a:pt x="3" y="504"/>
                    </a:cubicBezTo>
                    <a:cubicBezTo>
                      <a:pt x="2" y="505"/>
                      <a:pt x="2" y="507"/>
                      <a:pt x="1" y="509"/>
                    </a:cubicBezTo>
                    <a:cubicBezTo>
                      <a:pt x="1" y="509"/>
                      <a:pt x="1" y="510"/>
                      <a:pt x="1" y="510"/>
                    </a:cubicBezTo>
                    <a:cubicBezTo>
                      <a:pt x="1" y="511"/>
                      <a:pt x="0" y="513"/>
                      <a:pt x="0" y="515"/>
                    </a:cubicBezTo>
                    <a:cubicBezTo>
                      <a:pt x="0" y="515"/>
                      <a:pt x="0" y="516"/>
                      <a:pt x="0" y="516"/>
                    </a:cubicBezTo>
                    <a:cubicBezTo>
                      <a:pt x="0" y="518"/>
                      <a:pt x="0" y="519"/>
                      <a:pt x="0" y="520"/>
                    </a:cubicBezTo>
                    <a:cubicBezTo>
                      <a:pt x="0" y="521"/>
                      <a:pt x="0" y="521"/>
                      <a:pt x="0" y="522"/>
                    </a:cubicBezTo>
                    <a:cubicBezTo>
                      <a:pt x="1" y="524"/>
                      <a:pt x="1" y="525"/>
                      <a:pt x="1" y="527"/>
                    </a:cubicBezTo>
                    <a:cubicBezTo>
                      <a:pt x="46" y="613"/>
                      <a:pt x="46" y="613"/>
                      <a:pt x="46" y="613"/>
                    </a:cubicBezTo>
                    <a:cubicBezTo>
                      <a:pt x="47" y="614"/>
                      <a:pt x="48" y="615"/>
                      <a:pt x="48" y="617"/>
                    </a:cubicBezTo>
                    <a:cubicBezTo>
                      <a:pt x="51" y="620"/>
                      <a:pt x="53" y="622"/>
                      <a:pt x="56" y="624"/>
                    </a:cubicBezTo>
                    <a:cubicBezTo>
                      <a:pt x="106" y="651"/>
                      <a:pt x="106" y="651"/>
                      <a:pt x="106" y="651"/>
                    </a:cubicBezTo>
                    <a:cubicBezTo>
                      <a:pt x="102" y="649"/>
                      <a:pt x="99" y="645"/>
                      <a:pt x="96" y="640"/>
                    </a:cubicBezTo>
                    <a:cubicBezTo>
                      <a:pt x="51" y="554"/>
                      <a:pt x="51" y="554"/>
                      <a:pt x="51" y="554"/>
                    </a:cubicBezTo>
                    <a:cubicBezTo>
                      <a:pt x="50" y="552"/>
                      <a:pt x="50" y="551"/>
                      <a:pt x="50" y="549"/>
                    </a:cubicBezTo>
                    <a:cubicBezTo>
                      <a:pt x="50" y="548"/>
                      <a:pt x="50" y="548"/>
                      <a:pt x="50" y="547"/>
                    </a:cubicBezTo>
                    <a:cubicBezTo>
                      <a:pt x="50" y="546"/>
                      <a:pt x="50" y="545"/>
                      <a:pt x="50" y="543"/>
                    </a:cubicBezTo>
                    <a:cubicBezTo>
                      <a:pt x="50" y="543"/>
                      <a:pt x="50" y="542"/>
                      <a:pt x="50" y="542"/>
                    </a:cubicBezTo>
                    <a:cubicBezTo>
                      <a:pt x="50" y="540"/>
                      <a:pt x="50" y="538"/>
                      <a:pt x="51" y="537"/>
                    </a:cubicBezTo>
                    <a:cubicBezTo>
                      <a:pt x="51" y="537"/>
                      <a:pt x="51" y="536"/>
                      <a:pt x="51" y="536"/>
                    </a:cubicBezTo>
                    <a:cubicBezTo>
                      <a:pt x="51" y="534"/>
                      <a:pt x="52" y="532"/>
                      <a:pt x="52" y="531"/>
                    </a:cubicBezTo>
                    <a:cubicBezTo>
                      <a:pt x="53" y="530"/>
                      <a:pt x="53" y="529"/>
                      <a:pt x="53" y="529"/>
                    </a:cubicBezTo>
                    <a:cubicBezTo>
                      <a:pt x="54" y="528"/>
                      <a:pt x="54" y="526"/>
                      <a:pt x="55" y="525"/>
                    </a:cubicBezTo>
                    <a:cubicBezTo>
                      <a:pt x="55" y="525"/>
                      <a:pt x="55" y="524"/>
                      <a:pt x="56" y="523"/>
                    </a:cubicBezTo>
                    <a:cubicBezTo>
                      <a:pt x="56" y="523"/>
                      <a:pt x="56" y="522"/>
                      <a:pt x="57" y="522"/>
                    </a:cubicBezTo>
                    <a:cubicBezTo>
                      <a:pt x="57" y="521"/>
                      <a:pt x="58" y="520"/>
                      <a:pt x="59" y="519"/>
                    </a:cubicBezTo>
                    <a:cubicBezTo>
                      <a:pt x="116" y="438"/>
                      <a:pt x="116" y="438"/>
                      <a:pt x="116" y="438"/>
                    </a:cubicBezTo>
                    <a:cubicBezTo>
                      <a:pt x="116" y="437"/>
                      <a:pt x="117" y="436"/>
                      <a:pt x="117" y="435"/>
                    </a:cubicBezTo>
                    <a:cubicBezTo>
                      <a:pt x="118" y="435"/>
                      <a:pt x="118" y="434"/>
                      <a:pt x="119" y="433"/>
                    </a:cubicBezTo>
                    <a:cubicBezTo>
                      <a:pt x="119" y="433"/>
                      <a:pt x="120" y="432"/>
                      <a:pt x="120" y="432"/>
                    </a:cubicBezTo>
                    <a:cubicBezTo>
                      <a:pt x="121" y="431"/>
                      <a:pt x="122" y="430"/>
                      <a:pt x="122" y="430"/>
                    </a:cubicBezTo>
                    <a:cubicBezTo>
                      <a:pt x="123" y="429"/>
                      <a:pt x="123" y="429"/>
                      <a:pt x="124" y="428"/>
                    </a:cubicBezTo>
                    <a:cubicBezTo>
                      <a:pt x="125" y="428"/>
                      <a:pt x="126" y="427"/>
                      <a:pt x="127" y="426"/>
                    </a:cubicBezTo>
                    <a:cubicBezTo>
                      <a:pt x="127" y="426"/>
                      <a:pt x="127" y="426"/>
                      <a:pt x="128" y="425"/>
                    </a:cubicBezTo>
                    <a:cubicBezTo>
                      <a:pt x="128" y="425"/>
                      <a:pt x="128" y="425"/>
                      <a:pt x="129" y="425"/>
                    </a:cubicBezTo>
                    <a:cubicBezTo>
                      <a:pt x="129" y="425"/>
                      <a:pt x="129" y="425"/>
                      <a:pt x="129" y="425"/>
                    </a:cubicBezTo>
                    <a:cubicBezTo>
                      <a:pt x="130" y="424"/>
                      <a:pt x="130" y="424"/>
                      <a:pt x="130" y="424"/>
                    </a:cubicBezTo>
                    <a:cubicBezTo>
                      <a:pt x="131" y="424"/>
                      <a:pt x="131" y="424"/>
                      <a:pt x="131" y="424"/>
                    </a:cubicBezTo>
                    <a:cubicBezTo>
                      <a:pt x="131" y="424"/>
                      <a:pt x="132" y="424"/>
                      <a:pt x="132" y="424"/>
                    </a:cubicBezTo>
                    <a:cubicBezTo>
                      <a:pt x="132" y="424"/>
                      <a:pt x="133" y="424"/>
                      <a:pt x="133" y="424"/>
                    </a:cubicBezTo>
                    <a:cubicBezTo>
                      <a:pt x="133" y="423"/>
                      <a:pt x="134" y="423"/>
                      <a:pt x="134" y="423"/>
                    </a:cubicBezTo>
                    <a:cubicBezTo>
                      <a:pt x="149" y="423"/>
                      <a:pt x="164" y="422"/>
                      <a:pt x="179" y="419"/>
                    </a:cubicBezTo>
                    <a:cubicBezTo>
                      <a:pt x="184" y="419"/>
                      <a:pt x="190" y="418"/>
                      <a:pt x="196" y="417"/>
                    </a:cubicBezTo>
                    <a:cubicBezTo>
                      <a:pt x="197" y="416"/>
                      <a:pt x="199" y="416"/>
                      <a:pt x="201" y="416"/>
                    </a:cubicBezTo>
                    <a:cubicBezTo>
                      <a:pt x="205" y="415"/>
                      <a:pt x="209" y="414"/>
                      <a:pt x="212" y="413"/>
                    </a:cubicBezTo>
                    <a:cubicBezTo>
                      <a:pt x="215" y="413"/>
                      <a:pt x="217" y="412"/>
                      <a:pt x="219" y="412"/>
                    </a:cubicBezTo>
                    <a:cubicBezTo>
                      <a:pt x="222" y="411"/>
                      <a:pt x="226" y="410"/>
                      <a:pt x="229" y="409"/>
                    </a:cubicBezTo>
                    <a:cubicBezTo>
                      <a:pt x="231" y="408"/>
                      <a:pt x="234" y="408"/>
                      <a:pt x="236" y="407"/>
                    </a:cubicBezTo>
                    <a:cubicBezTo>
                      <a:pt x="239" y="406"/>
                      <a:pt x="242" y="405"/>
                      <a:pt x="246" y="404"/>
                    </a:cubicBezTo>
                    <a:cubicBezTo>
                      <a:pt x="248" y="403"/>
                      <a:pt x="250" y="403"/>
                      <a:pt x="252" y="402"/>
                    </a:cubicBezTo>
                    <a:cubicBezTo>
                      <a:pt x="256" y="401"/>
                      <a:pt x="259" y="400"/>
                      <a:pt x="262" y="399"/>
                    </a:cubicBezTo>
                    <a:cubicBezTo>
                      <a:pt x="264" y="398"/>
                      <a:pt x="266" y="397"/>
                      <a:pt x="268" y="396"/>
                    </a:cubicBezTo>
                    <a:cubicBezTo>
                      <a:pt x="272" y="395"/>
                      <a:pt x="276" y="393"/>
                      <a:pt x="279" y="392"/>
                    </a:cubicBezTo>
                    <a:cubicBezTo>
                      <a:pt x="281" y="391"/>
                      <a:pt x="283" y="391"/>
                      <a:pt x="284" y="390"/>
                    </a:cubicBezTo>
                    <a:cubicBezTo>
                      <a:pt x="290" y="388"/>
                      <a:pt x="295" y="385"/>
                      <a:pt x="300" y="383"/>
                    </a:cubicBezTo>
                    <a:cubicBezTo>
                      <a:pt x="300" y="383"/>
                      <a:pt x="300" y="383"/>
                      <a:pt x="300" y="383"/>
                    </a:cubicBezTo>
                    <a:cubicBezTo>
                      <a:pt x="306" y="380"/>
                      <a:pt x="311" y="377"/>
                      <a:pt x="317" y="375"/>
                    </a:cubicBezTo>
                    <a:cubicBezTo>
                      <a:pt x="319" y="374"/>
                      <a:pt x="320" y="373"/>
                      <a:pt x="322" y="372"/>
                    </a:cubicBezTo>
                    <a:cubicBezTo>
                      <a:pt x="326" y="370"/>
                      <a:pt x="330" y="368"/>
                      <a:pt x="333" y="366"/>
                    </a:cubicBezTo>
                    <a:cubicBezTo>
                      <a:pt x="335" y="364"/>
                      <a:pt x="338" y="363"/>
                      <a:pt x="340" y="362"/>
                    </a:cubicBezTo>
                    <a:cubicBezTo>
                      <a:pt x="343" y="360"/>
                      <a:pt x="346" y="358"/>
                      <a:pt x="350" y="356"/>
                    </a:cubicBezTo>
                    <a:cubicBezTo>
                      <a:pt x="352" y="354"/>
                      <a:pt x="354" y="353"/>
                      <a:pt x="356" y="351"/>
                    </a:cubicBezTo>
                    <a:cubicBezTo>
                      <a:pt x="359" y="349"/>
                      <a:pt x="362" y="347"/>
                      <a:pt x="365" y="345"/>
                    </a:cubicBezTo>
                    <a:cubicBezTo>
                      <a:pt x="366" y="345"/>
                      <a:pt x="366" y="345"/>
                      <a:pt x="367" y="344"/>
                    </a:cubicBezTo>
                    <a:cubicBezTo>
                      <a:pt x="370" y="342"/>
                      <a:pt x="372" y="340"/>
                      <a:pt x="375" y="338"/>
                    </a:cubicBezTo>
                    <a:cubicBezTo>
                      <a:pt x="376" y="338"/>
                      <a:pt x="378" y="337"/>
                      <a:pt x="379" y="336"/>
                    </a:cubicBezTo>
                    <a:cubicBezTo>
                      <a:pt x="384" y="332"/>
                      <a:pt x="388" y="329"/>
                      <a:pt x="393" y="325"/>
                    </a:cubicBezTo>
                    <a:cubicBezTo>
                      <a:pt x="394" y="324"/>
                      <a:pt x="394" y="324"/>
                      <a:pt x="395" y="323"/>
                    </a:cubicBezTo>
                    <a:cubicBezTo>
                      <a:pt x="399" y="320"/>
                      <a:pt x="403" y="317"/>
                      <a:pt x="406" y="314"/>
                    </a:cubicBezTo>
                    <a:cubicBezTo>
                      <a:pt x="408" y="313"/>
                      <a:pt x="409" y="311"/>
                      <a:pt x="411" y="310"/>
                    </a:cubicBezTo>
                    <a:cubicBezTo>
                      <a:pt x="413" y="308"/>
                      <a:pt x="415" y="306"/>
                      <a:pt x="417" y="305"/>
                    </a:cubicBezTo>
                    <a:cubicBezTo>
                      <a:pt x="418" y="304"/>
                      <a:pt x="419" y="303"/>
                      <a:pt x="420" y="302"/>
                    </a:cubicBezTo>
                    <a:cubicBezTo>
                      <a:pt x="421" y="301"/>
                      <a:pt x="422" y="300"/>
                      <a:pt x="424" y="298"/>
                    </a:cubicBezTo>
                    <a:cubicBezTo>
                      <a:pt x="427" y="296"/>
                      <a:pt x="429" y="293"/>
                      <a:pt x="432" y="290"/>
                    </a:cubicBezTo>
                    <a:cubicBezTo>
                      <a:pt x="434" y="289"/>
                      <a:pt x="435" y="288"/>
                      <a:pt x="436" y="286"/>
                    </a:cubicBezTo>
                    <a:cubicBezTo>
                      <a:pt x="439" y="283"/>
                      <a:pt x="442" y="280"/>
                      <a:pt x="445" y="277"/>
                    </a:cubicBezTo>
                    <a:cubicBezTo>
                      <a:pt x="446" y="276"/>
                      <a:pt x="447" y="275"/>
                      <a:pt x="448" y="274"/>
                    </a:cubicBezTo>
                    <a:cubicBezTo>
                      <a:pt x="452" y="270"/>
                      <a:pt x="456" y="266"/>
                      <a:pt x="459" y="262"/>
                    </a:cubicBezTo>
                    <a:cubicBezTo>
                      <a:pt x="459" y="262"/>
                      <a:pt x="460" y="262"/>
                      <a:pt x="460" y="261"/>
                    </a:cubicBezTo>
                    <a:cubicBezTo>
                      <a:pt x="461" y="260"/>
                      <a:pt x="461" y="259"/>
                      <a:pt x="462" y="259"/>
                    </a:cubicBezTo>
                    <a:cubicBezTo>
                      <a:pt x="465" y="255"/>
                      <a:pt x="468" y="252"/>
                      <a:pt x="471" y="248"/>
                    </a:cubicBezTo>
                    <a:cubicBezTo>
                      <a:pt x="472" y="247"/>
                      <a:pt x="473" y="245"/>
                      <a:pt x="475" y="244"/>
                    </a:cubicBezTo>
                    <a:cubicBezTo>
                      <a:pt x="477" y="241"/>
                      <a:pt x="479" y="238"/>
                      <a:pt x="482" y="235"/>
                    </a:cubicBezTo>
                    <a:cubicBezTo>
                      <a:pt x="483" y="233"/>
                      <a:pt x="484" y="231"/>
                      <a:pt x="486" y="230"/>
                    </a:cubicBezTo>
                    <a:cubicBezTo>
                      <a:pt x="488" y="226"/>
                      <a:pt x="491" y="223"/>
                      <a:pt x="493" y="220"/>
                    </a:cubicBezTo>
                    <a:cubicBezTo>
                      <a:pt x="494" y="218"/>
                      <a:pt x="495" y="217"/>
                      <a:pt x="496" y="216"/>
                    </a:cubicBezTo>
                    <a:cubicBezTo>
                      <a:pt x="496" y="215"/>
                      <a:pt x="496" y="215"/>
                      <a:pt x="497" y="215"/>
                    </a:cubicBezTo>
                    <a:cubicBezTo>
                      <a:pt x="500" y="210"/>
                      <a:pt x="503" y="206"/>
                      <a:pt x="506" y="201"/>
                    </a:cubicBezTo>
                    <a:cubicBezTo>
                      <a:pt x="506" y="201"/>
                      <a:pt x="506" y="200"/>
                      <a:pt x="507" y="200"/>
                    </a:cubicBezTo>
                    <a:cubicBezTo>
                      <a:pt x="510" y="195"/>
                      <a:pt x="512" y="191"/>
                      <a:pt x="515" y="186"/>
                    </a:cubicBezTo>
                    <a:cubicBezTo>
                      <a:pt x="516" y="185"/>
                      <a:pt x="517" y="183"/>
                      <a:pt x="518" y="181"/>
                    </a:cubicBezTo>
                    <a:cubicBezTo>
                      <a:pt x="520" y="178"/>
                      <a:pt x="522" y="175"/>
                      <a:pt x="524" y="171"/>
                    </a:cubicBezTo>
                    <a:cubicBezTo>
                      <a:pt x="525" y="169"/>
                      <a:pt x="526" y="167"/>
                      <a:pt x="527" y="165"/>
                    </a:cubicBezTo>
                    <a:cubicBezTo>
                      <a:pt x="528" y="163"/>
                      <a:pt x="529" y="162"/>
                      <a:pt x="530" y="160"/>
                    </a:cubicBezTo>
                    <a:cubicBezTo>
                      <a:pt x="531" y="159"/>
                      <a:pt x="532" y="157"/>
                      <a:pt x="532" y="156"/>
                    </a:cubicBezTo>
                    <a:cubicBezTo>
                      <a:pt x="534" y="153"/>
                      <a:pt x="535" y="150"/>
                      <a:pt x="537" y="148"/>
                    </a:cubicBezTo>
                    <a:cubicBezTo>
                      <a:pt x="538" y="145"/>
                      <a:pt x="540" y="142"/>
                      <a:pt x="541" y="139"/>
                    </a:cubicBezTo>
                    <a:cubicBezTo>
                      <a:pt x="542" y="136"/>
                      <a:pt x="544" y="133"/>
                      <a:pt x="545" y="130"/>
                    </a:cubicBezTo>
                    <a:cubicBezTo>
                      <a:pt x="546" y="128"/>
                      <a:pt x="548" y="125"/>
                      <a:pt x="549" y="122"/>
                    </a:cubicBezTo>
                    <a:cubicBezTo>
                      <a:pt x="550" y="119"/>
                      <a:pt x="551" y="116"/>
                      <a:pt x="553" y="113"/>
                    </a:cubicBezTo>
                    <a:cubicBezTo>
                      <a:pt x="554" y="110"/>
                      <a:pt x="555" y="107"/>
                      <a:pt x="556" y="104"/>
                    </a:cubicBezTo>
                    <a:cubicBezTo>
                      <a:pt x="557" y="101"/>
                      <a:pt x="559" y="98"/>
                      <a:pt x="560" y="95"/>
                    </a:cubicBezTo>
                    <a:cubicBezTo>
                      <a:pt x="560" y="94"/>
                      <a:pt x="561" y="92"/>
                      <a:pt x="562" y="90"/>
                    </a:cubicBezTo>
                    <a:cubicBezTo>
                      <a:pt x="562" y="89"/>
                      <a:pt x="563" y="87"/>
                      <a:pt x="563" y="86"/>
                    </a:cubicBezTo>
                    <a:cubicBezTo>
                      <a:pt x="564" y="84"/>
                      <a:pt x="565" y="81"/>
                      <a:pt x="566" y="79"/>
                    </a:cubicBezTo>
                    <a:cubicBezTo>
                      <a:pt x="567" y="76"/>
                      <a:pt x="568" y="72"/>
                      <a:pt x="569" y="68"/>
                    </a:cubicBezTo>
                    <a:cubicBezTo>
                      <a:pt x="570" y="66"/>
                      <a:pt x="570" y="64"/>
                      <a:pt x="571" y="62"/>
                    </a:cubicBezTo>
                    <a:cubicBezTo>
                      <a:pt x="572" y="58"/>
                      <a:pt x="573" y="54"/>
                      <a:pt x="574" y="50"/>
                    </a:cubicBezTo>
                    <a:cubicBezTo>
                      <a:pt x="575" y="48"/>
                      <a:pt x="576" y="47"/>
                      <a:pt x="576" y="45"/>
                    </a:cubicBezTo>
                    <a:cubicBezTo>
                      <a:pt x="578" y="39"/>
                      <a:pt x="579" y="33"/>
                      <a:pt x="580" y="27"/>
                    </a:cubicBezTo>
                    <a:cubicBezTo>
                      <a:pt x="531" y="0"/>
                      <a:pt x="531" y="0"/>
                      <a:pt x="531" y="0"/>
                    </a:cubicBezTo>
                    <a:cubicBezTo>
                      <a:pt x="529" y="6"/>
                      <a:pt x="528" y="12"/>
                      <a:pt x="526" y="18"/>
                    </a:cubicBezTo>
                    <a:close/>
                  </a:path>
                </a:pathLst>
              </a:custGeom>
              <a:solidFill>
                <a:schemeClr val="accent3">
                  <a:lumMod val="50000"/>
                </a:schemeClr>
              </a:solidFill>
              <a:ln w="38100">
                <a:noFill/>
              </a:ln>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grpSp>
        <p:grpSp>
          <p:nvGrpSpPr>
            <p:cNvPr id="13" name="Group 12">
              <a:extLst>
                <a:ext uri="{FF2B5EF4-FFF2-40B4-BE49-F238E27FC236}">
                  <a16:creationId xmlns:a16="http://schemas.microsoft.com/office/drawing/2014/main" id="{21095EE5-E14F-ACDA-0072-4534A5847C8E}"/>
                </a:ext>
              </a:extLst>
            </p:cNvPr>
            <p:cNvGrpSpPr/>
            <p:nvPr/>
          </p:nvGrpSpPr>
          <p:grpSpPr>
            <a:xfrm>
              <a:off x="3980715" y="4138359"/>
              <a:ext cx="1341834" cy="1806174"/>
              <a:chOff x="4612994" y="3540318"/>
              <a:chExt cx="1303197" cy="1754168"/>
            </a:xfrm>
          </p:grpSpPr>
          <p:sp>
            <p:nvSpPr>
              <p:cNvPr id="14" name="Freeform 9">
                <a:extLst>
                  <a:ext uri="{FF2B5EF4-FFF2-40B4-BE49-F238E27FC236}">
                    <a16:creationId xmlns:a16="http://schemas.microsoft.com/office/drawing/2014/main" id="{CBFE41C4-F566-1CC7-76E4-24896C01C4ED}"/>
                  </a:ext>
                </a:extLst>
              </p:cNvPr>
              <p:cNvSpPr>
                <a:spLocks noEditPoints="1"/>
              </p:cNvSpPr>
              <p:nvPr/>
            </p:nvSpPr>
            <p:spPr bwMode="auto">
              <a:xfrm>
                <a:off x="4612994" y="3540318"/>
                <a:ext cx="1303197" cy="1620033"/>
              </a:xfrm>
              <a:custGeom>
                <a:avLst/>
                <a:gdLst>
                  <a:gd name="T0" fmla="*/ 554 w 573"/>
                  <a:gd name="T1" fmla="*/ 538 h 712"/>
                  <a:gd name="T2" fmla="*/ 536 w 573"/>
                  <a:gd name="T3" fmla="*/ 534 h 712"/>
                  <a:gd name="T4" fmla="*/ 530 w 573"/>
                  <a:gd name="T5" fmla="*/ 532 h 712"/>
                  <a:gd name="T6" fmla="*/ 514 w 573"/>
                  <a:gd name="T7" fmla="*/ 528 h 712"/>
                  <a:gd name="T8" fmla="*/ 498 w 573"/>
                  <a:gd name="T9" fmla="*/ 522 h 712"/>
                  <a:gd name="T10" fmla="*/ 483 w 573"/>
                  <a:gd name="T11" fmla="*/ 516 h 712"/>
                  <a:gd name="T12" fmla="*/ 467 w 573"/>
                  <a:gd name="T13" fmla="*/ 509 h 712"/>
                  <a:gd name="T14" fmla="*/ 405 w 573"/>
                  <a:gd name="T15" fmla="*/ 475 h 712"/>
                  <a:gd name="T16" fmla="*/ 433 w 573"/>
                  <a:gd name="T17" fmla="*/ 489 h 712"/>
                  <a:gd name="T18" fmla="*/ 448 w 573"/>
                  <a:gd name="T19" fmla="*/ 495 h 712"/>
                  <a:gd name="T20" fmla="*/ 464 w 573"/>
                  <a:gd name="T21" fmla="*/ 501 h 712"/>
                  <a:gd name="T22" fmla="*/ 480 w 573"/>
                  <a:gd name="T23" fmla="*/ 505 h 712"/>
                  <a:gd name="T24" fmla="*/ 499 w 573"/>
                  <a:gd name="T25" fmla="*/ 510 h 712"/>
                  <a:gd name="T26" fmla="*/ 523 w 573"/>
                  <a:gd name="T27" fmla="*/ 514 h 712"/>
                  <a:gd name="T28" fmla="*/ 50 w 573"/>
                  <a:gd name="T29" fmla="*/ 182 h 712"/>
                  <a:gd name="T30" fmla="*/ 54 w 573"/>
                  <a:gd name="T31" fmla="*/ 115 h 712"/>
                  <a:gd name="T32" fmla="*/ 55 w 573"/>
                  <a:gd name="T33" fmla="*/ 109 h 712"/>
                  <a:gd name="T34" fmla="*/ 56 w 573"/>
                  <a:gd name="T35" fmla="*/ 106 h 712"/>
                  <a:gd name="T36" fmla="*/ 58 w 573"/>
                  <a:gd name="T37" fmla="*/ 102 h 712"/>
                  <a:gd name="T38" fmla="*/ 60 w 573"/>
                  <a:gd name="T39" fmla="*/ 99 h 712"/>
                  <a:gd name="T40" fmla="*/ 62 w 573"/>
                  <a:gd name="T41" fmla="*/ 96 h 712"/>
                  <a:gd name="T42" fmla="*/ 65 w 573"/>
                  <a:gd name="T43" fmla="*/ 93 h 712"/>
                  <a:gd name="T44" fmla="*/ 155 w 573"/>
                  <a:gd name="T45" fmla="*/ 29 h 712"/>
                  <a:gd name="T46" fmla="*/ 159 w 573"/>
                  <a:gd name="T47" fmla="*/ 28 h 712"/>
                  <a:gd name="T48" fmla="*/ 167 w 573"/>
                  <a:gd name="T49" fmla="*/ 27 h 712"/>
                  <a:gd name="T50" fmla="*/ 173 w 573"/>
                  <a:gd name="T51" fmla="*/ 27 h 712"/>
                  <a:gd name="T52" fmla="*/ 176 w 573"/>
                  <a:gd name="T53" fmla="*/ 28 h 712"/>
                  <a:gd name="T54" fmla="*/ 182 w 573"/>
                  <a:gd name="T55" fmla="*/ 30 h 712"/>
                  <a:gd name="T56" fmla="*/ 131 w 573"/>
                  <a:gd name="T57" fmla="*/ 3 h 712"/>
                  <a:gd name="T58" fmla="*/ 127 w 573"/>
                  <a:gd name="T59" fmla="*/ 1 h 712"/>
                  <a:gd name="T60" fmla="*/ 124 w 573"/>
                  <a:gd name="T61" fmla="*/ 0 h 712"/>
                  <a:gd name="T62" fmla="*/ 119 w 573"/>
                  <a:gd name="T63" fmla="*/ 0 h 712"/>
                  <a:gd name="T64" fmla="*/ 113 w 573"/>
                  <a:gd name="T65" fmla="*/ 0 h 712"/>
                  <a:gd name="T66" fmla="*/ 108 w 573"/>
                  <a:gd name="T67" fmla="*/ 1 h 712"/>
                  <a:gd name="T68" fmla="*/ 105 w 573"/>
                  <a:gd name="T69" fmla="*/ 2 h 712"/>
                  <a:gd name="T70" fmla="*/ 15 w 573"/>
                  <a:gd name="T71" fmla="*/ 66 h 712"/>
                  <a:gd name="T72" fmla="*/ 14 w 573"/>
                  <a:gd name="T73" fmla="*/ 68 h 712"/>
                  <a:gd name="T74" fmla="*/ 12 w 573"/>
                  <a:gd name="T75" fmla="*/ 70 h 712"/>
                  <a:gd name="T76" fmla="*/ 10 w 573"/>
                  <a:gd name="T77" fmla="*/ 72 h 712"/>
                  <a:gd name="T78" fmla="*/ 9 w 573"/>
                  <a:gd name="T79" fmla="*/ 74 h 712"/>
                  <a:gd name="T80" fmla="*/ 8 w 573"/>
                  <a:gd name="T81" fmla="*/ 76 h 712"/>
                  <a:gd name="T82" fmla="*/ 6 w 573"/>
                  <a:gd name="T83" fmla="*/ 79 h 712"/>
                  <a:gd name="T84" fmla="*/ 5 w 573"/>
                  <a:gd name="T85" fmla="*/ 82 h 712"/>
                  <a:gd name="T86" fmla="*/ 4 w 573"/>
                  <a:gd name="T87" fmla="*/ 87 h 712"/>
                  <a:gd name="T88" fmla="*/ 3 w 573"/>
                  <a:gd name="T89" fmla="*/ 93 h 712"/>
                  <a:gd name="T90" fmla="*/ 291 w 573"/>
                  <a:gd name="T91" fmla="*/ 685 h 712"/>
                  <a:gd name="T92" fmla="*/ 50 w 573"/>
                  <a:gd name="T93" fmla="*/ 182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3" h="712">
                    <a:moveTo>
                      <a:pt x="573" y="541"/>
                    </a:moveTo>
                    <a:cubicBezTo>
                      <a:pt x="567" y="540"/>
                      <a:pt x="560" y="539"/>
                      <a:pt x="554" y="538"/>
                    </a:cubicBezTo>
                    <a:cubicBezTo>
                      <a:pt x="553" y="538"/>
                      <a:pt x="551" y="537"/>
                      <a:pt x="549" y="537"/>
                    </a:cubicBezTo>
                    <a:cubicBezTo>
                      <a:pt x="544" y="536"/>
                      <a:pt x="540" y="535"/>
                      <a:pt x="536" y="534"/>
                    </a:cubicBezTo>
                    <a:cubicBezTo>
                      <a:pt x="535" y="534"/>
                      <a:pt x="534" y="533"/>
                      <a:pt x="532" y="533"/>
                    </a:cubicBezTo>
                    <a:cubicBezTo>
                      <a:pt x="532" y="533"/>
                      <a:pt x="531" y="533"/>
                      <a:pt x="530" y="532"/>
                    </a:cubicBezTo>
                    <a:cubicBezTo>
                      <a:pt x="526" y="531"/>
                      <a:pt x="523" y="531"/>
                      <a:pt x="520" y="530"/>
                    </a:cubicBezTo>
                    <a:cubicBezTo>
                      <a:pt x="518" y="529"/>
                      <a:pt x="516" y="528"/>
                      <a:pt x="514" y="528"/>
                    </a:cubicBezTo>
                    <a:cubicBezTo>
                      <a:pt x="510" y="527"/>
                      <a:pt x="507" y="525"/>
                      <a:pt x="503" y="524"/>
                    </a:cubicBezTo>
                    <a:cubicBezTo>
                      <a:pt x="502" y="524"/>
                      <a:pt x="500" y="523"/>
                      <a:pt x="498" y="522"/>
                    </a:cubicBezTo>
                    <a:cubicBezTo>
                      <a:pt x="494" y="521"/>
                      <a:pt x="489" y="519"/>
                      <a:pt x="485" y="517"/>
                    </a:cubicBezTo>
                    <a:cubicBezTo>
                      <a:pt x="484" y="517"/>
                      <a:pt x="483" y="516"/>
                      <a:pt x="483" y="516"/>
                    </a:cubicBezTo>
                    <a:cubicBezTo>
                      <a:pt x="477" y="514"/>
                      <a:pt x="473" y="512"/>
                      <a:pt x="468" y="509"/>
                    </a:cubicBezTo>
                    <a:cubicBezTo>
                      <a:pt x="467" y="509"/>
                      <a:pt x="467" y="509"/>
                      <a:pt x="467" y="509"/>
                    </a:cubicBezTo>
                    <a:cubicBezTo>
                      <a:pt x="463" y="507"/>
                      <a:pt x="459" y="505"/>
                      <a:pt x="455" y="502"/>
                    </a:cubicBezTo>
                    <a:cubicBezTo>
                      <a:pt x="405" y="475"/>
                      <a:pt x="405" y="475"/>
                      <a:pt x="405" y="475"/>
                    </a:cubicBezTo>
                    <a:cubicBezTo>
                      <a:pt x="409" y="478"/>
                      <a:pt x="414" y="480"/>
                      <a:pt x="418" y="482"/>
                    </a:cubicBezTo>
                    <a:cubicBezTo>
                      <a:pt x="423" y="485"/>
                      <a:pt x="428" y="487"/>
                      <a:pt x="433" y="489"/>
                    </a:cubicBezTo>
                    <a:cubicBezTo>
                      <a:pt x="434" y="489"/>
                      <a:pt x="435" y="490"/>
                      <a:pt x="436" y="490"/>
                    </a:cubicBezTo>
                    <a:cubicBezTo>
                      <a:pt x="440" y="492"/>
                      <a:pt x="444" y="494"/>
                      <a:pt x="448" y="495"/>
                    </a:cubicBezTo>
                    <a:cubicBezTo>
                      <a:pt x="450" y="496"/>
                      <a:pt x="452" y="497"/>
                      <a:pt x="454" y="497"/>
                    </a:cubicBezTo>
                    <a:cubicBezTo>
                      <a:pt x="457" y="498"/>
                      <a:pt x="461" y="500"/>
                      <a:pt x="464" y="501"/>
                    </a:cubicBezTo>
                    <a:cubicBezTo>
                      <a:pt x="466" y="501"/>
                      <a:pt x="468" y="502"/>
                      <a:pt x="470" y="503"/>
                    </a:cubicBezTo>
                    <a:cubicBezTo>
                      <a:pt x="474" y="504"/>
                      <a:pt x="477" y="504"/>
                      <a:pt x="480" y="505"/>
                    </a:cubicBezTo>
                    <a:cubicBezTo>
                      <a:pt x="482" y="506"/>
                      <a:pt x="484" y="506"/>
                      <a:pt x="486" y="507"/>
                    </a:cubicBezTo>
                    <a:cubicBezTo>
                      <a:pt x="490" y="508"/>
                      <a:pt x="495" y="509"/>
                      <a:pt x="499" y="510"/>
                    </a:cubicBezTo>
                    <a:cubicBezTo>
                      <a:pt x="501" y="510"/>
                      <a:pt x="503" y="511"/>
                      <a:pt x="505" y="511"/>
                    </a:cubicBezTo>
                    <a:cubicBezTo>
                      <a:pt x="511" y="512"/>
                      <a:pt x="517" y="513"/>
                      <a:pt x="523" y="514"/>
                    </a:cubicBezTo>
                    <a:lnTo>
                      <a:pt x="573" y="541"/>
                    </a:lnTo>
                    <a:close/>
                    <a:moveTo>
                      <a:pt x="50" y="182"/>
                    </a:moveTo>
                    <a:cubicBezTo>
                      <a:pt x="50" y="161"/>
                      <a:pt x="51" y="140"/>
                      <a:pt x="53" y="120"/>
                    </a:cubicBezTo>
                    <a:cubicBezTo>
                      <a:pt x="53" y="118"/>
                      <a:pt x="53" y="116"/>
                      <a:pt x="54" y="115"/>
                    </a:cubicBezTo>
                    <a:cubicBezTo>
                      <a:pt x="54" y="114"/>
                      <a:pt x="54" y="114"/>
                      <a:pt x="54" y="114"/>
                    </a:cubicBezTo>
                    <a:cubicBezTo>
                      <a:pt x="54" y="112"/>
                      <a:pt x="54" y="111"/>
                      <a:pt x="55" y="109"/>
                    </a:cubicBezTo>
                    <a:cubicBezTo>
                      <a:pt x="55" y="109"/>
                      <a:pt x="55" y="109"/>
                      <a:pt x="55" y="109"/>
                    </a:cubicBezTo>
                    <a:cubicBezTo>
                      <a:pt x="55" y="108"/>
                      <a:pt x="56" y="107"/>
                      <a:pt x="56" y="106"/>
                    </a:cubicBezTo>
                    <a:cubicBezTo>
                      <a:pt x="56" y="105"/>
                      <a:pt x="57" y="104"/>
                      <a:pt x="57" y="104"/>
                    </a:cubicBezTo>
                    <a:cubicBezTo>
                      <a:pt x="57" y="103"/>
                      <a:pt x="58" y="103"/>
                      <a:pt x="58" y="102"/>
                    </a:cubicBezTo>
                    <a:cubicBezTo>
                      <a:pt x="58" y="102"/>
                      <a:pt x="58" y="101"/>
                      <a:pt x="59" y="101"/>
                    </a:cubicBezTo>
                    <a:cubicBezTo>
                      <a:pt x="59" y="100"/>
                      <a:pt x="59" y="100"/>
                      <a:pt x="60" y="99"/>
                    </a:cubicBezTo>
                    <a:cubicBezTo>
                      <a:pt x="60" y="99"/>
                      <a:pt x="60" y="98"/>
                      <a:pt x="61" y="98"/>
                    </a:cubicBezTo>
                    <a:cubicBezTo>
                      <a:pt x="61" y="97"/>
                      <a:pt x="62" y="97"/>
                      <a:pt x="62" y="96"/>
                    </a:cubicBezTo>
                    <a:cubicBezTo>
                      <a:pt x="63" y="96"/>
                      <a:pt x="63" y="95"/>
                      <a:pt x="64" y="95"/>
                    </a:cubicBezTo>
                    <a:cubicBezTo>
                      <a:pt x="64" y="94"/>
                      <a:pt x="65" y="94"/>
                      <a:pt x="65" y="93"/>
                    </a:cubicBezTo>
                    <a:cubicBezTo>
                      <a:pt x="66" y="92"/>
                      <a:pt x="68" y="91"/>
                      <a:pt x="69" y="90"/>
                    </a:cubicBezTo>
                    <a:cubicBezTo>
                      <a:pt x="155" y="29"/>
                      <a:pt x="155" y="29"/>
                      <a:pt x="155" y="29"/>
                    </a:cubicBezTo>
                    <a:cubicBezTo>
                      <a:pt x="156" y="29"/>
                      <a:pt x="157" y="29"/>
                      <a:pt x="158" y="28"/>
                    </a:cubicBezTo>
                    <a:cubicBezTo>
                      <a:pt x="158" y="28"/>
                      <a:pt x="159" y="28"/>
                      <a:pt x="159" y="28"/>
                    </a:cubicBezTo>
                    <a:cubicBezTo>
                      <a:pt x="160" y="27"/>
                      <a:pt x="162" y="27"/>
                      <a:pt x="163" y="27"/>
                    </a:cubicBezTo>
                    <a:cubicBezTo>
                      <a:pt x="164" y="27"/>
                      <a:pt x="166" y="27"/>
                      <a:pt x="167" y="27"/>
                    </a:cubicBezTo>
                    <a:cubicBezTo>
                      <a:pt x="168" y="27"/>
                      <a:pt x="168" y="27"/>
                      <a:pt x="168" y="27"/>
                    </a:cubicBezTo>
                    <a:cubicBezTo>
                      <a:pt x="170" y="27"/>
                      <a:pt x="171" y="27"/>
                      <a:pt x="173" y="27"/>
                    </a:cubicBezTo>
                    <a:cubicBezTo>
                      <a:pt x="173" y="27"/>
                      <a:pt x="173" y="27"/>
                      <a:pt x="173" y="27"/>
                    </a:cubicBezTo>
                    <a:cubicBezTo>
                      <a:pt x="174" y="27"/>
                      <a:pt x="175" y="28"/>
                      <a:pt x="176" y="28"/>
                    </a:cubicBezTo>
                    <a:cubicBezTo>
                      <a:pt x="177" y="28"/>
                      <a:pt x="179" y="29"/>
                      <a:pt x="180" y="29"/>
                    </a:cubicBezTo>
                    <a:cubicBezTo>
                      <a:pt x="181" y="30"/>
                      <a:pt x="181" y="30"/>
                      <a:pt x="182" y="30"/>
                    </a:cubicBezTo>
                    <a:cubicBezTo>
                      <a:pt x="132" y="3"/>
                      <a:pt x="132" y="3"/>
                      <a:pt x="132" y="3"/>
                    </a:cubicBezTo>
                    <a:cubicBezTo>
                      <a:pt x="132" y="3"/>
                      <a:pt x="132" y="3"/>
                      <a:pt x="131" y="3"/>
                    </a:cubicBezTo>
                    <a:cubicBezTo>
                      <a:pt x="131" y="2"/>
                      <a:pt x="131" y="2"/>
                      <a:pt x="130" y="2"/>
                    </a:cubicBezTo>
                    <a:cubicBezTo>
                      <a:pt x="129" y="2"/>
                      <a:pt x="128" y="1"/>
                      <a:pt x="127" y="1"/>
                    </a:cubicBezTo>
                    <a:cubicBezTo>
                      <a:pt x="126" y="1"/>
                      <a:pt x="126" y="1"/>
                      <a:pt x="126" y="1"/>
                    </a:cubicBezTo>
                    <a:cubicBezTo>
                      <a:pt x="125" y="0"/>
                      <a:pt x="124" y="0"/>
                      <a:pt x="124" y="0"/>
                    </a:cubicBezTo>
                    <a:cubicBezTo>
                      <a:pt x="123" y="0"/>
                      <a:pt x="123" y="0"/>
                      <a:pt x="123" y="0"/>
                    </a:cubicBezTo>
                    <a:cubicBezTo>
                      <a:pt x="122" y="0"/>
                      <a:pt x="120" y="0"/>
                      <a:pt x="119" y="0"/>
                    </a:cubicBezTo>
                    <a:cubicBezTo>
                      <a:pt x="118" y="0"/>
                      <a:pt x="118" y="0"/>
                      <a:pt x="118" y="0"/>
                    </a:cubicBezTo>
                    <a:cubicBezTo>
                      <a:pt x="116" y="0"/>
                      <a:pt x="115" y="0"/>
                      <a:pt x="113" y="0"/>
                    </a:cubicBezTo>
                    <a:cubicBezTo>
                      <a:pt x="112" y="0"/>
                      <a:pt x="111" y="0"/>
                      <a:pt x="109" y="1"/>
                    </a:cubicBezTo>
                    <a:cubicBezTo>
                      <a:pt x="109" y="1"/>
                      <a:pt x="109" y="1"/>
                      <a:pt x="108" y="1"/>
                    </a:cubicBezTo>
                    <a:cubicBezTo>
                      <a:pt x="107" y="1"/>
                      <a:pt x="107" y="2"/>
                      <a:pt x="106" y="2"/>
                    </a:cubicBezTo>
                    <a:cubicBezTo>
                      <a:pt x="106" y="2"/>
                      <a:pt x="105" y="2"/>
                      <a:pt x="105" y="2"/>
                    </a:cubicBezTo>
                    <a:cubicBezTo>
                      <a:pt x="20" y="63"/>
                      <a:pt x="20" y="63"/>
                      <a:pt x="20" y="63"/>
                    </a:cubicBezTo>
                    <a:cubicBezTo>
                      <a:pt x="18" y="64"/>
                      <a:pt x="17" y="65"/>
                      <a:pt x="15" y="66"/>
                    </a:cubicBezTo>
                    <a:cubicBezTo>
                      <a:pt x="15" y="67"/>
                      <a:pt x="15" y="67"/>
                      <a:pt x="15" y="67"/>
                    </a:cubicBezTo>
                    <a:cubicBezTo>
                      <a:pt x="15" y="67"/>
                      <a:pt x="14" y="67"/>
                      <a:pt x="14" y="68"/>
                    </a:cubicBezTo>
                    <a:cubicBezTo>
                      <a:pt x="14" y="68"/>
                      <a:pt x="13" y="69"/>
                      <a:pt x="12" y="69"/>
                    </a:cubicBezTo>
                    <a:cubicBezTo>
                      <a:pt x="12" y="70"/>
                      <a:pt x="12" y="70"/>
                      <a:pt x="12" y="70"/>
                    </a:cubicBezTo>
                    <a:cubicBezTo>
                      <a:pt x="12" y="70"/>
                      <a:pt x="11" y="71"/>
                      <a:pt x="11" y="71"/>
                    </a:cubicBezTo>
                    <a:cubicBezTo>
                      <a:pt x="11" y="71"/>
                      <a:pt x="10" y="72"/>
                      <a:pt x="10" y="72"/>
                    </a:cubicBezTo>
                    <a:cubicBezTo>
                      <a:pt x="10" y="72"/>
                      <a:pt x="10" y="72"/>
                      <a:pt x="10" y="73"/>
                    </a:cubicBezTo>
                    <a:cubicBezTo>
                      <a:pt x="9" y="73"/>
                      <a:pt x="9" y="73"/>
                      <a:pt x="9" y="74"/>
                    </a:cubicBezTo>
                    <a:cubicBezTo>
                      <a:pt x="9" y="74"/>
                      <a:pt x="8" y="75"/>
                      <a:pt x="8" y="75"/>
                    </a:cubicBezTo>
                    <a:cubicBezTo>
                      <a:pt x="8" y="75"/>
                      <a:pt x="8" y="75"/>
                      <a:pt x="8" y="76"/>
                    </a:cubicBezTo>
                    <a:cubicBezTo>
                      <a:pt x="8" y="76"/>
                      <a:pt x="8" y="76"/>
                      <a:pt x="7" y="77"/>
                    </a:cubicBezTo>
                    <a:cubicBezTo>
                      <a:pt x="7" y="77"/>
                      <a:pt x="7" y="78"/>
                      <a:pt x="6" y="79"/>
                    </a:cubicBezTo>
                    <a:cubicBezTo>
                      <a:pt x="6" y="79"/>
                      <a:pt x="6" y="79"/>
                      <a:pt x="6" y="80"/>
                    </a:cubicBezTo>
                    <a:cubicBezTo>
                      <a:pt x="6" y="80"/>
                      <a:pt x="5" y="81"/>
                      <a:pt x="5" y="82"/>
                    </a:cubicBezTo>
                    <a:cubicBezTo>
                      <a:pt x="5" y="82"/>
                      <a:pt x="5" y="82"/>
                      <a:pt x="5" y="82"/>
                    </a:cubicBezTo>
                    <a:cubicBezTo>
                      <a:pt x="5" y="84"/>
                      <a:pt x="4" y="85"/>
                      <a:pt x="4" y="87"/>
                    </a:cubicBezTo>
                    <a:cubicBezTo>
                      <a:pt x="4" y="87"/>
                      <a:pt x="4" y="87"/>
                      <a:pt x="4" y="88"/>
                    </a:cubicBezTo>
                    <a:cubicBezTo>
                      <a:pt x="4" y="89"/>
                      <a:pt x="3" y="91"/>
                      <a:pt x="3" y="93"/>
                    </a:cubicBezTo>
                    <a:cubicBezTo>
                      <a:pt x="1" y="113"/>
                      <a:pt x="0" y="134"/>
                      <a:pt x="0" y="155"/>
                    </a:cubicBezTo>
                    <a:cubicBezTo>
                      <a:pt x="0" y="395"/>
                      <a:pt x="116" y="590"/>
                      <a:pt x="291" y="685"/>
                    </a:cubicBezTo>
                    <a:cubicBezTo>
                      <a:pt x="341" y="712"/>
                      <a:pt x="341" y="712"/>
                      <a:pt x="341" y="712"/>
                    </a:cubicBezTo>
                    <a:cubicBezTo>
                      <a:pt x="166" y="617"/>
                      <a:pt x="50" y="422"/>
                      <a:pt x="50" y="182"/>
                    </a:cubicBezTo>
                    <a:close/>
                  </a:path>
                </a:pathLst>
              </a:custGeom>
              <a:solidFill>
                <a:schemeClr val="accent4">
                  <a:lumMod val="50000"/>
                </a:schemeClr>
              </a:solidFill>
              <a:ln w="38100">
                <a:noFill/>
              </a:ln>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sp>
            <p:nvSpPr>
              <p:cNvPr id="15" name="Freeform 10">
                <a:extLst>
                  <a:ext uri="{FF2B5EF4-FFF2-40B4-BE49-F238E27FC236}">
                    <a16:creationId xmlns:a16="http://schemas.microsoft.com/office/drawing/2014/main" id="{C81CD480-0DE7-AEDD-1A1D-92CF36DB652D}"/>
                  </a:ext>
                </a:extLst>
              </p:cNvPr>
              <p:cNvSpPr>
                <a:spLocks/>
              </p:cNvSpPr>
              <p:nvPr/>
            </p:nvSpPr>
            <p:spPr bwMode="auto">
              <a:xfrm>
                <a:off x="4724003" y="3599291"/>
                <a:ext cx="1192188" cy="1695195"/>
              </a:xfrm>
              <a:custGeom>
                <a:avLst/>
                <a:gdLst>
                  <a:gd name="T0" fmla="*/ 114 w 524"/>
                  <a:gd name="T1" fmla="*/ 1 h 745"/>
                  <a:gd name="T2" fmla="*/ 137 w 524"/>
                  <a:gd name="T3" fmla="*/ 7 h 745"/>
                  <a:gd name="T4" fmla="*/ 205 w 524"/>
                  <a:gd name="T5" fmla="*/ 59 h 745"/>
                  <a:gd name="T6" fmla="*/ 215 w 524"/>
                  <a:gd name="T7" fmla="*/ 71 h 745"/>
                  <a:gd name="T8" fmla="*/ 216 w 524"/>
                  <a:gd name="T9" fmla="*/ 78 h 745"/>
                  <a:gd name="T10" fmla="*/ 214 w 524"/>
                  <a:gd name="T11" fmla="*/ 126 h 745"/>
                  <a:gd name="T12" fmla="*/ 524 w 524"/>
                  <a:gd name="T13" fmla="*/ 515 h 745"/>
                  <a:gd name="T14" fmla="*/ 496 w 524"/>
                  <a:gd name="T15" fmla="*/ 551 h 745"/>
                  <a:gd name="T16" fmla="*/ 474 w 524"/>
                  <a:gd name="T17" fmla="*/ 577 h 745"/>
                  <a:gd name="T18" fmla="*/ 464 w 524"/>
                  <a:gd name="T19" fmla="*/ 588 h 745"/>
                  <a:gd name="T20" fmla="*/ 445 w 524"/>
                  <a:gd name="T21" fmla="*/ 621 h 745"/>
                  <a:gd name="T22" fmla="*/ 442 w 524"/>
                  <a:gd name="T23" fmla="*/ 657 h 745"/>
                  <a:gd name="T24" fmla="*/ 446 w 524"/>
                  <a:gd name="T25" fmla="*/ 671 h 745"/>
                  <a:gd name="T26" fmla="*/ 455 w 524"/>
                  <a:gd name="T27" fmla="*/ 703 h 745"/>
                  <a:gd name="T28" fmla="*/ 470 w 524"/>
                  <a:gd name="T29" fmla="*/ 745 h 745"/>
                  <a:gd name="T30" fmla="*/ 1 w 524"/>
                  <a:gd name="T31" fmla="*/ 156 h 745"/>
                  <a:gd name="T32" fmla="*/ 4 w 524"/>
                  <a:gd name="T33" fmla="*/ 94 h 745"/>
                  <a:gd name="T34" fmla="*/ 20 w 524"/>
                  <a:gd name="T35" fmla="*/ 64 h 745"/>
                  <a:gd name="T36" fmla="*/ 106 w 524"/>
                  <a:gd name="T37" fmla="*/ 3 h 745"/>
                  <a:gd name="T38" fmla="*/ 114 w 524"/>
                  <a:gd name="T39" fmla="*/ 1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4" h="745">
                    <a:moveTo>
                      <a:pt x="114" y="1"/>
                    </a:moveTo>
                    <a:cubicBezTo>
                      <a:pt x="122" y="0"/>
                      <a:pt x="132" y="2"/>
                      <a:pt x="137" y="7"/>
                    </a:cubicBezTo>
                    <a:cubicBezTo>
                      <a:pt x="205" y="59"/>
                      <a:pt x="205" y="59"/>
                      <a:pt x="205" y="59"/>
                    </a:cubicBezTo>
                    <a:cubicBezTo>
                      <a:pt x="209" y="62"/>
                      <a:pt x="212" y="66"/>
                      <a:pt x="215" y="71"/>
                    </a:cubicBezTo>
                    <a:cubicBezTo>
                      <a:pt x="215" y="72"/>
                      <a:pt x="216" y="76"/>
                      <a:pt x="216" y="78"/>
                    </a:cubicBezTo>
                    <a:cubicBezTo>
                      <a:pt x="214" y="94"/>
                      <a:pt x="214" y="110"/>
                      <a:pt x="214" y="126"/>
                    </a:cubicBezTo>
                    <a:cubicBezTo>
                      <a:pt x="213" y="334"/>
                      <a:pt x="345" y="491"/>
                      <a:pt x="524" y="515"/>
                    </a:cubicBezTo>
                    <a:cubicBezTo>
                      <a:pt x="520" y="521"/>
                      <a:pt x="509" y="536"/>
                      <a:pt x="496" y="551"/>
                    </a:cubicBezTo>
                    <a:cubicBezTo>
                      <a:pt x="489" y="561"/>
                      <a:pt x="481" y="570"/>
                      <a:pt x="474" y="577"/>
                    </a:cubicBezTo>
                    <a:cubicBezTo>
                      <a:pt x="468" y="584"/>
                      <a:pt x="464" y="588"/>
                      <a:pt x="464" y="588"/>
                    </a:cubicBezTo>
                    <a:cubicBezTo>
                      <a:pt x="456" y="597"/>
                      <a:pt x="449" y="608"/>
                      <a:pt x="445" y="621"/>
                    </a:cubicBezTo>
                    <a:cubicBezTo>
                      <a:pt x="441" y="633"/>
                      <a:pt x="440" y="646"/>
                      <a:pt x="442" y="657"/>
                    </a:cubicBezTo>
                    <a:cubicBezTo>
                      <a:pt x="442" y="657"/>
                      <a:pt x="444" y="662"/>
                      <a:pt x="446" y="671"/>
                    </a:cubicBezTo>
                    <a:cubicBezTo>
                      <a:pt x="448" y="680"/>
                      <a:pt x="452" y="692"/>
                      <a:pt x="455" y="703"/>
                    </a:cubicBezTo>
                    <a:cubicBezTo>
                      <a:pt x="460" y="720"/>
                      <a:pt x="467" y="736"/>
                      <a:pt x="470" y="745"/>
                    </a:cubicBezTo>
                    <a:cubicBezTo>
                      <a:pt x="200" y="707"/>
                      <a:pt x="0" y="471"/>
                      <a:pt x="1" y="156"/>
                    </a:cubicBezTo>
                    <a:cubicBezTo>
                      <a:pt x="1" y="135"/>
                      <a:pt x="2" y="114"/>
                      <a:pt x="4" y="94"/>
                    </a:cubicBezTo>
                    <a:cubicBezTo>
                      <a:pt x="6" y="78"/>
                      <a:pt x="10" y="72"/>
                      <a:pt x="20" y="64"/>
                    </a:cubicBezTo>
                    <a:cubicBezTo>
                      <a:pt x="106" y="3"/>
                      <a:pt x="106" y="3"/>
                      <a:pt x="106" y="3"/>
                    </a:cubicBezTo>
                    <a:cubicBezTo>
                      <a:pt x="108" y="2"/>
                      <a:pt x="111" y="1"/>
                      <a:pt x="114" y="1"/>
                    </a:cubicBezTo>
                    <a:close/>
                  </a:path>
                </a:pathLst>
              </a:custGeom>
              <a:gradFill>
                <a:gsLst>
                  <a:gs pos="0">
                    <a:schemeClr val="accent4"/>
                  </a:gs>
                  <a:gs pos="100000">
                    <a:schemeClr val="accent4">
                      <a:lumMod val="50000"/>
                    </a:schemeClr>
                  </a:gs>
                </a:gsLst>
                <a:lin ang="6600000" scaled="0"/>
              </a:gradFill>
              <a:ln w="38100">
                <a:noFill/>
              </a:ln>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grpSp>
        <p:grpSp>
          <p:nvGrpSpPr>
            <p:cNvPr id="16" name="Group 15">
              <a:extLst>
                <a:ext uri="{FF2B5EF4-FFF2-40B4-BE49-F238E27FC236}">
                  <a16:creationId xmlns:a16="http://schemas.microsoft.com/office/drawing/2014/main" id="{CF54BE86-8B99-F22E-CDB8-78ED055A5159}"/>
                </a:ext>
              </a:extLst>
            </p:cNvPr>
            <p:cNvGrpSpPr/>
            <p:nvPr/>
          </p:nvGrpSpPr>
          <p:grpSpPr>
            <a:xfrm>
              <a:off x="4038792" y="2602579"/>
              <a:ext cx="1845465" cy="1532330"/>
              <a:chOff x="4658091" y="2141146"/>
              <a:chExt cx="1792328" cy="1488210"/>
            </a:xfrm>
          </p:grpSpPr>
          <p:sp>
            <p:nvSpPr>
              <p:cNvPr id="27" name="Freeform 11">
                <a:extLst>
                  <a:ext uri="{FF2B5EF4-FFF2-40B4-BE49-F238E27FC236}">
                    <a16:creationId xmlns:a16="http://schemas.microsoft.com/office/drawing/2014/main" id="{788192F5-E326-FE07-3106-245ACF6A8029}"/>
                  </a:ext>
                </a:extLst>
              </p:cNvPr>
              <p:cNvSpPr>
                <a:spLocks/>
              </p:cNvSpPr>
              <p:nvPr/>
            </p:nvSpPr>
            <p:spPr bwMode="auto">
              <a:xfrm>
                <a:off x="4772568" y="2202432"/>
                <a:ext cx="1677851" cy="1426924"/>
              </a:xfrm>
              <a:custGeom>
                <a:avLst/>
                <a:gdLst>
                  <a:gd name="T0" fmla="*/ 608 w 738"/>
                  <a:gd name="T1" fmla="*/ 5 h 627"/>
                  <a:gd name="T2" fmla="*/ 665 w 738"/>
                  <a:gd name="T3" fmla="*/ 0 h 627"/>
                  <a:gd name="T4" fmla="*/ 690 w 738"/>
                  <a:gd name="T5" fmla="*/ 14 h 627"/>
                  <a:gd name="T6" fmla="*/ 735 w 738"/>
                  <a:gd name="T7" fmla="*/ 100 h 627"/>
                  <a:gd name="T8" fmla="*/ 727 w 738"/>
                  <a:gd name="T9" fmla="*/ 136 h 627"/>
                  <a:gd name="T10" fmla="*/ 670 w 738"/>
                  <a:gd name="T11" fmla="*/ 216 h 627"/>
                  <a:gd name="T12" fmla="*/ 658 w 738"/>
                  <a:gd name="T13" fmla="*/ 229 h 627"/>
                  <a:gd name="T14" fmla="*/ 652 w 738"/>
                  <a:gd name="T15" fmla="*/ 231 h 627"/>
                  <a:gd name="T16" fmla="*/ 607 w 738"/>
                  <a:gd name="T17" fmla="*/ 235 h 627"/>
                  <a:gd name="T18" fmla="*/ 206 w 738"/>
                  <a:gd name="T19" fmla="*/ 627 h 627"/>
                  <a:gd name="T20" fmla="*/ 176 w 738"/>
                  <a:gd name="T21" fmla="*/ 602 h 627"/>
                  <a:gd name="T22" fmla="*/ 155 w 738"/>
                  <a:gd name="T23" fmla="*/ 581 h 627"/>
                  <a:gd name="T24" fmla="*/ 146 w 738"/>
                  <a:gd name="T25" fmla="*/ 571 h 627"/>
                  <a:gd name="T26" fmla="*/ 118 w 738"/>
                  <a:gd name="T27" fmla="*/ 555 h 627"/>
                  <a:gd name="T28" fmla="*/ 96 w 738"/>
                  <a:gd name="T29" fmla="*/ 553 h 627"/>
                  <a:gd name="T30" fmla="*/ 85 w 738"/>
                  <a:gd name="T31" fmla="*/ 556 h 627"/>
                  <a:gd name="T32" fmla="*/ 71 w 738"/>
                  <a:gd name="T33" fmla="*/ 562 h 627"/>
                  <a:gd name="T34" fmla="*/ 40 w 738"/>
                  <a:gd name="T35" fmla="*/ 577 h 627"/>
                  <a:gd name="T36" fmla="*/ 0 w 738"/>
                  <a:gd name="T37" fmla="*/ 598 h 627"/>
                  <a:gd name="T38" fmla="*/ 608 w 738"/>
                  <a:gd name="T39" fmla="*/ 5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8" h="627">
                    <a:moveTo>
                      <a:pt x="608" y="5"/>
                    </a:moveTo>
                    <a:cubicBezTo>
                      <a:pt x="627" y="3"/>
                      <a:pt x="646" y="1"/>
                      <a:pt x="665" y="0"/>
                    </a:cubicBezTo>
                    <a:cubicBezTo>
                      <a:pt x="680" y="0"/>
                      <a:pt x="684" y="4"/>
                      <a:pt x="690" y="14"/>
                    </a:cubicBezTo>
                    <a:cubicBezTo>
                      <a:pt x="735" y="100"/>
                      <a:pt x="735" y="100"/>
                      <a:pt x="735" y="100"/>
                    </a:cubicBezTo>
                    <a:cubicBezTo>
                      <a:pt x="738" y="111"/>
                      <a:pt x="735" y="126"/>
                      <a:pt x="727" y="136"/>
                    </a:cubicBezTo>
                    <a:cubicBezTo>
                      <a:pt x="670" y="216"/>
                      <a:pt x="670" y="216"/>
                      <a:pt x="670" y="216"/>
                    </a:cubicBezTo>
                    <a:cubicBezTo>
                      <a:pt x="668" y="221"/>
                      <a:pt x="663" y="226"/>
                      <a:pt x="658" y="229"/>
                    </a:cubicBezTo>
                    <a:cubicBezTo>
                      <a:pt x="657" y="230"/>
                      <a:pt x="653" y="231"/>
                      <a:pt x="652" y="231"/>
                    </a:cubicBezTo>
                    <a:cubicBezTo>
                      <a:pt x="637" y="232"/>
                      <a:pt x="622" y="233"/>
                      <a:pt x="607" y="235"/>
                    </a:cubicBezTo>
                    <a:cubicBezTo>
                      <a:pt x="414" y="262"/>
                      <a:pt x="252" y="428"/>
                      <a:pt x="206" y="627"/>
                    </a:cubicBezTo>
                    <a:cubicBezTo>
                      <a:pt x="201" y="623"/>
                      <a:pt x="188" y="613"/>
                      <a:pt x="176" y="602"/>
                    </a:cubicBezTo>
                    <a:cubicBezTo>
                      <a:pt x="168" y="594"/>
                      <a:pt x="161" y="587"/>
                      <a:pt x="155" y="581"/>
                    </a:cubicBezTo>
                    <a:cubicBezTo>
                      <a:pt x="149" y="575"/>
                      <a:pt x="146" y="571"/>
                      <a:pt x="146" y="571"/>
                    </a:cubicBezTo>
                    <a:cubicBezTo>
                      <a:pt x="139" y="563"/>
                      <a:pt x="129" y="558"/>
                      <a:pt x="118" y="555"/>
                    </a:cubicBezTo>
                    <a:cubicBezTo>
                      <a:pt x="111" y="553"/>
                      <a:pt x="103" y="552"/>
                      <a:pt x="96" y="553"/>
                    </a:cubicBezTo>
                    <a:cubicBezTo>
                      <a:pt x="92" y="554"/>
                      <a:pt x="89" y="555"/>
                      <a:pt x="85" y="556"/>
                    </a:cubicBezTo>
                    <a:cubicBezTo>
                      <a:pt x="85" y="556"/>
                      <a:pt x="80" y="559"/>
                      <a:pt x="71" y="562"/>
                    </a:cubicBezTo>
                    <a:cubicBezTo>
                      <a:pt x="63" y="566"/>
                      <a:pt x="51" y="571"/>
                      <a:pt x="40" y="577"/>
                    </a:cubicBezTo>
                    <a:cubicBezTo>
                      <a:pt x="24" y="584"/>
                      <a:pt x="8" y="593"/>
                      <a:pt x="0" y="598"/>
                    </a:cubicBezTo>
                    <a:cubicBezTo>
                      <a:pt x="70" y="297"/>
                      <a:pt x="316" y="47"/>
                      <a:pt x="608" y="5"/>
                    </a:cubicBezTo>
                    <a:close/>
                  </a:path>
                </a:pathLst>
              </a:custGeom>
              <a:gradFill>
                <a:gsLst>
                  <a:gs pos="0">
                    <a:schemeClr val="accent1"/>
                  </a:gs>
                  <a:gs pos="100000">
                    <a:schemeClr val="accent1">
                      <a:lumMod val="50000"/>
                    </a:schemeClr>
                  </a:gs>
                </a:gsLst>
                <a:lin ang="66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a:solidFill>
                    <a:schemeClr val="bg1"/>
                  </a:solidFill>
                </a:endParaRPr>
              </a:p>
            </p:txBody>
          </p:sp>
          <p:sp>
            <p:nvSpPr>
              <p:cNvPr id="29" name="Freeform 12">
                <a:extLst>
                  <a:ext uri="{FF2B5EF4-FFF2-40B4-BE49-F238E27FC236}">
                    <a16:creationId xmlns:a16="http://schemas.microsoft.com/office/drawing/2014/main" id="{BFDE4499-4515-90C5-738B-144913CDB2DE}"/>
                  </a:ext>
                </a:extLst>
              </p:cNvPr>
              <p:cNvSpPr>
                <a:spLocks noEditPoints="1"/>
              </p:cNvSpPr>
              <p:nvPr/>
            </p:nvSpPr>
            <p:spPr bwMode="auto">
              <a:xfrm>
                <a:off x="4658092" y="2141146"/>
                <a:ext cx="1660506" cy="1488210"/>
              </a:xfrm>
              <a:custGeom>
                <a:avLst/>
                <a:gdLst>
                  <a:gd name="T0" fmla="*/ 729 w 730"/>
                  <a:gd name="T1" fmla="*/ 30 h 654"/>
                  <a:gd name="T2" fmla="*/ 724 w 730"/>
                  <a:gd name="T3" fmla="*/ 28 h 654"/>
                  <a:gd name="T4" fmla="*/ 720 w 730"/>
                  <a:gd name="T5" fmla="*/ 28 h 654"/>
                  <a:gd name="T6" fmla="*/ 715 w 730"/>
                  <a:gd name="T7" fmla="*/ 27 h 654"/>
                  <a:gd name="T8" fmla="*/ 658 w 730"/>
                  <a:gd name="T9" fmla="*/ 33 h 654"/>
                  <a:gd name="T10" fmla="*/ 628 w 730"/>
                  <a:gd name="T11" fmla="*/ 38 h 654"/>
                  <a:gd name="T12" fmla="*/ 604 w 730"/>
                  <a:gd name="T13" fmla="*/ 43 h 654"/>
                  <a:gd name="T14" fmla="*/ 581 w 730"/>
                  <a:gd name="T15" fmla="*/ 48 h 654"/>
                  <a:gd name="T16" fmla="*/ 559 w 730"/>
                  <a:gd name="T17" fmla="*/ 55 h 654"/>
                  <a:gd name="T18" fmla="*/ 538 w 730"/>
                  <a:gd name="T19" fmla="*/ 62 h 654"/>
                  <a:gd name="T20" fmla="*/ 516 w 730"/>
                  <a:gd name="T21" fmla="*/ 70 h 654"/>
                  <a:gd name="T22" fmla="*/ 495 w 730"/>
                  <a:gd name="T23" fmla="*/ 78 h 654"/>
                  <a:gd name="T24" fmla="*/ 123 w 730"/>
                  <a:gd name="T25" fmla="*/ 431 h 654"/>
                  <a:gd name="T26" fmla="*/ 110 w 730"/>
                  <a:gd name="T27" fmla="*/ 456 h 654"/>
                  <a:gd name="T28" fmla="*/ 98 w 730"/>
                  <a:gd name="T29" fmla="*/ 483 h 654"/>
                  <a:gd name="T30" fmla="*/ 87 w 730"/>
                  <a:gd name="T31" fmla="*/ 509 h 654"/>
                  <a:gd name="T32" fmla="*/ 76 w 730"/>
                  <a:gd name="T33" fmla="*/ 537 h 654"/>
                  <a:gd name="T34" fmla="*/ 67 w 730"/>
                  <a:gd name="T35" fmla="*/ 563 h 654"/>
                  <a:gd name="T36" fmla="*/ 59 w 730"/>
                  <a:gd name="T37" fmla="*/ 590 h 654"/>
                  <a:gd name="T38" fmla="*/ 50 w 730"/>
                  <a:gd name="T39" fmla="*/ 625 h 654"/>
                  <a:gd name="T40" fmla="*/ 7 w 730"/>
                  <a:gd name="T41" fmla="*/ 572 h 654"/>
                  <a:gd name="T42" fmla="*/ 15 w 730"/>
                  <a:gd name="T43" fmla="*/ 546 h 654"/>
                  <a:gd name="T44" fmla="*/ 23 w 730"/>
                  <a:gd name="T45" fmla="*/ 520 h 654"/>
                  <a:gd name="T46" fmla="*/ 29 w 730"/>
                  <a:gd name="T47" fmla="*/ 504 h 654"/>
                  <a:gd name="T48" fmla="*/ 37 w 730"/>
                  <a:gd name="T49" fmla="*/ 482 h 654"/>
                  <a:gd name="T50" fmla="*/ 48 w 730"/>
                  <a:gd name="T51" fmla="*/ 456 h 654"/>
                  <a:gd name="T52" fmla="*/ 60 w 730"/>
                  <a:gd name="T53" fmla="*/ 429 h 654"/>
                  <a:gd name="T54" fmla="*/ 73 w 730"/>
                  <a:gd name="T55" fmla="*/ 404 h 654"/>
                  <a:gd name="T56" fmla="*/ 76 w 730"/>
                  <a:gd name="T57" fmla="*/ 398 h 654"/>
                  <a:gd name="T58" fmla="*/ 425 w 730"/>
                  <a:gd name="T59" fmla="*/ 61 h 654"/>
                  <a:gd name="T60" fmla="*/ 442 w 730"/>
                  <a:gd name="T61" fmla="*/ 53 h 654"/>
                  <a:gd name="T62" fmla="*/ 467 w 730"/>
                  <a:gd name="T63" fmla="*/ 43 h 654"/>
                  <a:gd name="T64" fmla="*/ 488 w 730"/>
                  <a:gd name="T65" fmla="*/ 35 h 654"/>
                  <a:gd name="T66" fmla="*/ 510 w 730"/>
                  <a:gd name="T67" fmla="*/ 28 h 654"/>
                  <a:gd name="T68" fmla="*/ 532 w 730"/>
                  <a:gd name="T69" fmla="*/ 21 h 654"/>
                  <a:gd name="T70" fmla="*/ 555 w 730"/>
                  <a:gd name="T71" fmla="*/ 16 h 654"/>
                  <a:gd name="T72" fmla="*/ 578 w 730"/>
                  <a:gd name="T73" fmla="*/ 11 h 654"/>
                  <a:gd name="T74" fmla="*/ 608 w 730"/>
                  <a:gd name="T75" fmla="*/ 6 h 654"/>
                  <a:gd name="T76" fmla="*/ 665 w 730"/>
                  <a:gd name="T77" fmla="*/ 0 h 654"/>
                  <a:gd name="T78" fmla="*/ 670 w 730"/>
                  <a:gd name="T79" fmla="*/ 1 h 654"/>
                  <a:gd name="T80" fmla="*/ 674 w 730"/>
                  <a:gd name="T81" fmla="*/ 1 h 654"/>
                  <a:gd name="T82" fmla="*/ 677 w 730"/>
                  <a:gd name="T83" fmla="*/ 2 h 654"/>
                  <a:gd name="T84" fmla="*/ 680 w 730"/>
                  <a:gd name="T85" fmla="*/ 3 h 654"/>
                  <a:gd name="T86" fmla="*/ 730 w 730"/>
                  <a:gd name="T87" fmla="*/ 30 h 654"/>
                  <a:gd name="T88" fmla="*/ 196 w 730"/>
                  <a:gd name="T89" fmla="*/ 598 h 654"/>
                  <a:gd name="T90" fmla="*/ 190 w 730"/>
                  <a:gd name="T91" fmla="*/ 592 h 654"/>
                  <a:gd name="T92" fmla="*/ 183 w 730"/>
                  <a:gd name="T93" fmla="*/ 588 h 654"/>
                  <a:gd name="T94" fmla="*/ 155 w 730"/>
                  <a:gd name="T95" fmla="*/ 580 h 654"/>
                  <a:gd name="T96" fmla="*/ 176 w 730"/>
                  <a:gd name="T97" fmla="*/ 602 h 654"/>
                  <a:gd name="T98" fmla="*/ 256 w 730"/>
                  <a:gd name="T99" fmla="*/ 654 h 654"/>
                  <a:gd name="T100" fmla="*/ 205 w 730"/>
                  <a:gd name="T101" fmla="*/ 608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0" h="654">
                    <a:moveTo>
                      <a:pt x="730" y="30"/>
                    </a:moveTo>
                    <a:cubicBezTo>
                      <a:pt x="730" y="30"/>
                      <a:pt x="729" y="30"/>
                      <a:pt x="729" y="30"/>
                    </a:cubicBezTo>
                    <a:cubicBezTo>
                      <a:pt x="728" y="29"/>
                      <a:pt x="727" y="29"/>
                      <a:pt x="726" y="29"/>
                    </a:cubicBezTo>
                    <a:cubicBezTo>
                      <a:pt x="725" y="29"/>
                      <a:pt x="725" y="28"/>
                      <a:pt x="724" y="28"/>
                    </a:cubicBezTo>
                    <a:cubicBezTo>
                      <a:pt x="724" y="28"/>
                      <a:pt x="724" y="28"/>
                      <a:pt x="724" y="28"/>
                    </a:cubicBezTo>
                    <a:cubicBezTo>
                      <a:pt x="722" y="28"/>
                      <a:pt x="721" y="28"/>
                      <a:pt x="720" y="28"/>
                    </a:cubicBezTo>
                    <a:cubicBezTo>
                      <a:pt x="720" y="28"/>
                      <a:pt x="719" y="28"/>
                      <a:pt x="719" y="27"/>
                    </a:cubicBezTo>
                    <a:cubicBezTo>
                      <a:pt x="718" y="27"/>
                      <a:pt x="716" y="27"/>
                      <a:pt x="715" y="27"/>
                    </a:cubicBezTo>
                    <a:cubicBezTo>
                      <a:pt x="696" y="28"/>
                      <a:pt x="677" y="30"/>
                      <a:pt x="658" y="32"/>
                    </a:cubicBezTo>
                    <a:cubicBezTo>
                      <a:pt x="658" y="32"/>
                      <a:pt x="658" y="32"/>
                      <a:pt x="658" y="33"/>
                    </a:cubicBezTo>
                    <a:cubicBezTo>
                      <a:pt x="650" y="34"/>
                      <a:pt x="643" y="35"/>
                      <a:pt x="635" y="36"/>
                    </a:cubicBezTo>
                    <a:cubicBezTo>
                      <a:pt x="633" y="37"/>
                      <a:pt x="630" y="37"/>
                      <a:pt x="628" y="38"/>
                    </a:cubicBezTo>
                    <a:cubicBezTo>
                      <a:pt x="623" y="39"/>
                      <a:pt x="618" y="39"/>
                      <a:pt x="613" y="41"/>
                    </a:cubicBezTo>
                    <a:cubicBezTo>
                      <a:pt x="610" y="41"/>
                      <a:pt x="607" y="42"/>
                      <a:pt x="604" y="43"/>
                    </a:cubicBezTo>
                    <a:cubicBezTo>
                      <a:pt x="600" y="44"/>
                      <a:pt x="595" y="45"/>
                      <a:pt x="591" y="46"/>
                    </a:cubicBezTo>
                    <a:cubicBezTo>
                      <a:pt x="588" y="47"/>
                      <a:pt x="585" y="47"/>
                      <a:pt x="581" y="48"/>
                    </a:cubicBezTo>
                    <a:cubicBezTo>
                      <a:pt x="577" y="49"/>
                      <a:pt x="573" y="51"/>
                      <a:pt x="569" y="52"/>
                    </a:cubicBezTo>
                    <a:cubicBezTo>
                      <a:pt x="566" y="53"/>
                      <a:pt x="562" y="54"/>
                      <a:pt x="559" y="55"/>
                    </a:cubicBezTo>
                    <a:cubicBezTo>
                      <a:pt x="555" y="56"/>
                      <a:pt x="551" y="57"/>
                      <a:pt x="547" y="59"/>
                    </a:cubicBezTo>
                    <a:cubicBezTo>
                      <a:pt x="544" y="60"/>
                      <a:pt x="541" y="61"/>
                      <a:pt x="538" y="62"/>
                    </a:cubicBezTo>
                    <a:cubicBezTo>
                      <a:pt x="533" y="63"/>
                      <a:pt x="529" y="65"/>
                      <a:pt x="525" y="66"/>
                    </a:cubicBezTo>
                    <a:cubicBezTo>
                      <a:pt x="522" y="67"/>
                      <a:pt x="519" y="69"/>
                      <a:pt x="516" y="70"/>
                    </a:cubicBezTo>
                    <a:cubicBezTo>
                      <a:pt x="512" y="71"/>
                      <a:pt x="508" y="73"/>
                      <a:pt x="503" y="75"/>
                    </a:cubicBezTo>
                    <a:cubicBezTo>
                      <a:pt x="501" y="76"/>
                      <a:pt x="498" y="77"/>
                      <a:pt x="495" y="78"/>
                    </a:cubicBezTo>
                    <a:cubicBezTo>
                      <a:pt x="489" y="81"/>
                      <a:pt x="483" y="84"/>
                      <a:pt x="477" y="86"/>
                    </a:cubicBezTo>
                    <a:cubicBezTo>
                      <a:pt x="328" y="155"/>
                      <a:pt x="203" y="279"/>
                      <a:pt x="123" y="431"/>
                    </a:cubicBezTo>
                    <a:cubicBezTo>
                      <a:pt x="121" y="435"/>
                      <a:pt x="118" y="439"/>
                      <a:pt x="116" y="444"/>
                    </a:cubicBezTo>
                    <a:cubicBezTo>
                      <a:pt x="114" y="448"/>
                      <a:pt x="112" y="452"/>
                      <a:pt x="110" y="456"/>
                    </a:cubicBezTo>
                    <a:cubicBezTo>
                      <a:pt x="108" y="461"/>
                      <a:pt x="106" y="465"/>
                      <a:pt x="104" y="469"/>
                    </a:cubicBezTo>
                    <a:cubicBezTo>
                      <a:pt x="102" y="474"/>
                      <a:pt x="100" y="478"/>
                      <a:pt x="98" y="483"/>
                    </a:cubicBezTo>
                    <a:cubicBezTo>
                      <a:pt x="96" y="487"/>
                      <a:pt x="94" y="491"/>
                      <a:pt x="92" y="496"/>
                    </a:cubicBezTo>
                    <a:cubicBezTo>
                      <a:pt x="90" y="500"/>
                      <a:pt x="88" y="505"/>
                      <a:pt x="87" y="509"/>
                    </a:cubicBezTo>
                    <a:cubicBezTo>
                      <a:pt x="85" y="514"/>
                      <a:pt x="83" y="518"/>
                      <a:pt x="81" y="523"/>
                    </a:cubicBezTo>
                    <a:cubicBezTo>
                      <a:pt x="80" y="527"/>
                      <a:pt x="78" y="532"/>
                      <a:pt x="76" y="537"/>
                    </a:cubicBezTo>
                    <a:cubicBezTo>
                      <a:pt x="75" y="540"/>
                      <a:pt x="74" y="543"/>
                      <a:pt x="73" y="547"/>
                    </a:cubicBezTo>
                    <a:cubicBezTo>
                      <a:pt x="71" y="552"/>
                      <a:pt x="69" y="558"/>
                      <a:pt x="67" y="563"/>
                    </a:cubicBezTo>
                    <a:cubicBezTo>
                      <a:pt x="66" y="566"/>
                      <a:pt x="65" y="569"/>
                      <a:pt x="64" y="573"/>
                    </a:cubicBezTo>
                    <a:cubicBezTo>
                      <a:pt x="62" y="579"/>
                      <a:pt x="61" y="584"/>
                      <a:pt x="59" y="590"/>
                    </a:cubicBezTo>
                    <a:cubicBezTo>
                      <a:pt x="58" y="593"/>
                      <a:pt x="57" y="596"/>
                      <a:pt x="57" y="599"/>
                    </a:cubicBezTo>
                    <a:cubicBezTo>
                      <a:pt x="54" y="607"/>
                      <a:pt x="52" y="616"/>
                      <a:pt x="50" y="625"/>
                    </a:cubicBezTo>
                    <a:cubicBezTo>
                      <a:pt x="0" y="598"/>
                      <a:pt x="0" y="598"/>
                      <a:pt x="0" y="598"/>
                    </a:cubicBezTo>
                    <a:cubicBezTo>
                      <a:pt x="3" y="589"/>
                      <a:pt x="5" y="580"/>
                      <a:pt x="7" y="572"/>
                    </a:cubicBezTo>
                    <a:cubicBezTo>
                      <a:pt x="8" y="569"/>
                      <a:pt x="9" y="566"/>
                      <a:pt x="9" y="563"/>
                    </a:cubicBezTo>
                    <a:cubicBezTo>
                      <a:pt x="11" y="557"/>
                      <a:pt x="13" y="552"/>
                      <a:pt x="15" y="546"/>
                    </a:cubicBezTo>
                    <a:cubicBezTo>
                      <a:pt x="16" y="542"/>
                      <a:pt x="17" y="539"/>
                      <a:pt x="18" y="536"/>
                    </a:cubicBezTo>
                    <a:cubicBezTo>
                      <a:pt x="19" y="531"/>
                      <a:pt x="21" y="525"/>
                      <a:pt x="23" y="520"/>
                    </a:cubicBezTo>
                    <a:cubicBezTo>
                      <a:pt x="24" y="516"/>
                      <a:pt x="25" y="513"/>
                      <a:pt x="26" y="510"/>
                    </a:cubicBezTo>
                    <a:cubicBezTo>
                      <a:pt x="27" y="508"/>
                      <a:pt x="28" y="506"/>
                      <a:pt x="29" y="504"/>
                    </a:cubicBezTo>
                    <a:cubicBezTo>
                      <a:pt x="30" y="501"/>
                      <a:pt x="31" y="498"/>
                      <a:pt x="32" y="496"/>
                    </a:cubicBezTo>
                    <a:cubicBezTo>
                      <a:pt x="33" y="491"/>
                      <a:pt x="35" y="487"/>
                      <a:pt x="37" y="482"/>
                    </a:cubicBezTo>
                    <a:cubicBezTo>
                      <a:pt x="39" y="478"/>
                      <a:pt x="41" y="473"/>
                      <a:pt x="42" y="469"/>
                    </a:cubicBezTo>
                    <a:cubicBezTo>
                      <a:pt x="44" y="464"/>
                      <a:pt x="46" y="460"/>
                      <a:pt x="48" y="456"/>
                    </a:cubicBezTo>
                    <a:cubicBezTo>
                      <a:pt x="50" y="451"/>
                      <a:pt x="52" y="447"/>
                      <a:pt x="54" y="442"/>
                    </a:cubicBezTo>
                    <a:cubicBezTo>
                      <a:pt x="56" y="438"/>
                      <a:pt x="58" y="434"/>
                      <a:pt x="60" y="429"/>
                    </a:cubicBezTo>
                    <a:cubicBezTo>
                      <a:pt x="62" y="425"/>
                      <a:pt x="64" y="421"/>
                      <a:pt x="67" y="417"/>
                    </a:cubicBezTo>
                    <a:cubicBezTo>
                      <a:pt x="69" y="412"/>
                      <a:pt x="71" y="408"/>
                      <a:pt x="73" y="404"/>
                    </a:cubicBezTo>
                    <a:cubicBezTo>
                      <a:pt x="74" y="402"/>
                      <a:pt x="75" y="400"/>
                      <a:pt x="76" y="398"/>
                    </a:cubicBezTo>
                    <a:cubicBezTo>
                      <a:pt x="76" y="398"/>
                      <a:pt x="76" y="398"/>
                      <a:pt x="76" y="398"/>
                    </a:cubicBezTo>
                    <a:cubicBezTo>
                      <a:pt x="156" y="251"/>
                      <a:pt x="279" y="129"/>
                      <a:pt x="425" y="61"/>
                    </a:cubicBezTo>
                    <a:cubicBezTo>
                      <a:pt x="425" y="61"/>
                      <a:pt x="425" y="61"/>
                      <a:pt x="425" y="61"/>
                    </a:cubicBezTo>
                    <a:cubicBezTo>
                      <a:pt x="425" y="60"/>
                      <a:pt x="426" y="60"/>
                      <a:pt x="426" y="60"/>
                    </a:cubicBezTo>
                    <a:cubicBezTo>
                      <a:pt x="432" y="58"/>
                      <a:pt x="437" y="55"/>
                      <a:pt x="442" y="53"/>
                    </a:cubicBezTo>
                    <a:cubicBezTo>
                      <a:pt x="446" y="51"/>
                      <a:pt x="450" y="50"/>
                      <a:pt x="454" y="48"/>
                    </a:cubicBezTo>
                    <a:cubicBezTo>
                      <a:pt x="458" y="46"/>
                      <a:pt x="463" y="44"/>
                      <a:pt x="467" y="43"/>
                    </a:cubicBezTo>
                    <a:cubicBezTo>
                      <a:pt x="470" y="41"/>
                      <a:pt x="473" y="40"/>
                      <a:pt x="476" y="39"/>
                    </a:cubicBezTo>
                    <a:cubicBezTo>
                      <a:pt x="480" y="38"/>
                      <a:pt x="484" y="36"/>
                      <a:pt x="488" y="35"/>
                    </a:cubicBezTo>
                    <a:cubicBezTo>
                      <a:pt x="491" y="34"/>
                      <a:pt x="495" y="33"/>
                      <a:pt x="498" y="32"/>
                    </a:cubicBezTo>
                    <a:cubicBezTo>
                      <a:pt x="502" y="30"/>
                      <a:pt x="506" y="29"/>
                      <a:pt x="510" y="28"/>
                    </a:cubicBezTo>
                    <a:cubicBezTo>
                      <a:pt x="513" y="27"/>
                      <a:pt x="516" y="26"/>
                      <a:pt x="519" y="25"/>
                    </a:cubicBezTo>
                    <a:cubicBezTo>
                      <a:pt x="524" y="24"/>
                      <a:pt x="528" y="22"/>
                      <a:pt x="532" y="21"/>
                    </a:cubicBezTo>
                    <a:cubicBezTo>
                      <a:pt x="535" y="20"/>
                      <a:pt x="538" y="20"/>
                      <a:pt x="541" y="19"/>
                    </a:cubicBezTo>
                    <a:cubicBezTo>
                      <a:pt x="546" y="18"/>
                      <a:pt x="550" y="17"/>
                      <a:pt x="555" y="16"/>
                    </a:cubicBezTo>
                    <a:cubicBezTo>
                      <a:pt x="558" y="15"/>
                      <a:pt x="560" y="14"/>
                      <a:pt x="563" y="14"/>
                    </a:cubicBezTo>
                    <a:cubicBezTo>
                      <a:pt x="568" y="12"/>
                      <a:pt x="573" y="11"/>
                      <a:pt x="578" y="11"/>
                    </a:cubicBezTo>
                    <a:cubicBezTo>
                      <a:pt x="581" y="10"/>
                      <a:pt x="583" y="10"/>
                      <a:pt x="586" y="9"/>
                    </a:cubicBezTo>
                    <a:cubicBezTo>
                      <a:pt x="593" y="8"/>
                      <a:pt x="601" y="7"/>
                      <a:pt x="608" y="6"/>
                    </a:cubicBezTo>
                    <a:cubicBezTo>
                      <a:pt x="608" y="6"/>
                      <a:pt x="608" y="5"/>
                      <a:pt x="608" y="5"/>
                    </a:cubicBezTo>
                    <a:cubicBezTo>
                      <a:pt x="627" y="3"/>
                      <a:pt x="646" y="1"/>
                      <a:pt x="665" y="0"/>
                    </a:cubicBezTo>
                    <a:cubicBezTo>
                      <a:pt x="667" y="0"/>
                      <a:pt x="668" y="0"/>
                      <a:pt x="669" y="0"/>
                    </a:cubicBezTo>
                    <a:cubicBezTo>
                      <a:pt x="670" y="1"/>
                      <a:pt x="670" y="1"/>
                      <a:pt x="670" y="1"/>
                    </a:cubicBezTo>
                    <a:cubicBezTo>
                      <a:pt x="672" y="1"/>
                      <a:pt x="673" y="1"/>
                      <a:pt x="674" y="1"/>
                    </a:cubicBezTo>
                    <a:cubicBezTo>
                      <a:pt x="674" y="1"/>
                      <a:pt x="674" y="1"/>
                      <a:pt x="674" y="1"/>
                    </a:cubicBezTo>
                    <a:cubicBezTo>
                      <a:pt x="675" y="1"/>
                      <a:pt x="675" y="1"/>
                      <a:pt x="676" y="1"/>
                    </a:cubicBezTo>
                    <a:cubicBezTo>
                      <a:pt x="676" y="2"/>
                      <a:pt x="676" y="2"/>
                      <a:pt x="677" y="2"/>
                    </a:cubicBezTo>
                    <a:cubicBezTo>
                      <a:pt x="677" y="2"/>
                      <a:pt x="678" y="2"/>
                      <a:pt x="679" y="3"/>
                    </a:cubicBezTo>
                    <a:cubicBezTo>
                      <a:pt x="679" y="3"/>
                      <a:pt x="680" y="3"/>
                      <a:pt x="680" y="3"/>
                    </a:cubicBezTo>
                    <a:cubicBezTo>
                      <a:pt x="680" y="3"/>
                      <a:pt x="680" y="3"/>
                      <a:pt x="681" y="3"/>
                    </a:cubicBezTo>
                    <a:lnTo>
                      <a:pt x="730" y="30"/>
                    </a:lnTo>
                    <a:close/>
                    <a:moveTo>
                      <a:pt x="205" y="608"/>
                    </a:moveTo>
                    <a:cubicBezTo>
                      <a:pt x="199" y="602"/>
                      <a:pt x="196" y="598"/>
                      <a:pt x="196" y="598"/>
                    </a:cubicBezTo>
                    <a:cubicBezTo>
                      <a:pt x="194" y="596"/>
                      <a:pt x="192" y="594"/>
                      <a:pt x="190" y="593"/>
                    </a:cubicBezTo>
                    <a:cubicBezTo>
                      <a:pt x="190" y="593"/>
                      <a:pt x="190" y="593"/>
                      <a:pt x="190" y="592"/>
                    </a:cubicBezTo>
                    <a:cubicBezTo>
                      <a:pt x="188" y="591"/>
                      <a:pt x="186" y="590"/>
                      <a:pt x="184" y="588"/>
                    </a:cubicBezTo>
                    <a:cubicBezTo>
                      <a:pt x="184" y="588"/>
                      <a:pt x="183" y="588"/>
                      <a:pt x="183" y="588"/>
                    </a:cubicBezTo>
                    <a:cubicBezTo>
                      <a:pt x="179" y="585"/>
                      <a:pt x="174" y="583"/>
                      <a:pt x="168" y="582"/>
                    </a:cubicBezTo>
                    <a:cubicBezTo>
                      <a:pt x="164" y="581"/>
                      <a:pt x="159" y="580"/>
                      <a:pt x="155" y="580"/>
                    </a:cubicBezTo>
                    <a:cubicBezTo>
                      <a:pt x="155" y="580"/>
                      <a:pt x="155" y="581"/>
                      <a:pt x="155" y="581"/>
                    </a:cubicBezTo>
                    <a:cubicBezTo>
                      <a:pt x="161" y="587"/>
                      <a:pt x="168" y="594"/>
                      <a:pt x="176" y="602"/>
                    </a:cubicBezTo>
                    <a:cubicBezTo>
                      <a:pt x="188" y="613"/>
                      <a:pt x="201" y="623"/>
                      <a:pt x="206" y="627"/>
                    </a:cubicBezTo>
                    <a:cubicBezTo>
                      <a:pt x="256" y="654"/>
                      <a:pt x="256" y="654"/>
                      <a:pt x="256" y="654"/>
                    </a:cubicBezTo>
                    <a:cubicBezTo>
                      <a:pt x="251" y="650"/>
                      <a:pt x="238" y="640"/>
                      <a:pt x="226" y="629"/>
                    </a:cubicBezTo>
                    <a:cubicBezTo>
                      <a:pt x="218" y="621"/>
                      <a:pt x="211" y="614"/>
                      <a:pt x="205" y="608"/>
                    </a:cubicBezTo>
                    <a:close/>
                  </a:path>
                </a:pathLst>
              </a:custGeom>
              <a:solidFill>
                <a:schemeClr val="accent1">
                  <a:lumMod val="50000"/>
                </a:schemeClr>
              </a:solidFill>
              <a:ln w="9525">
                <a:solidFill>
                  <a:srgbClr val="000000"/>
                </a:solidFill>
                <a:round/>
                <a:headEnd/>
                <a:tailEnd/>
              </a:ln>
            </p:spPr>
            <p:txBody>
              <a:bodyPr vert="horz" wrap="square" lIns="68580" tIns="34291" rIns="68580" bIns="34291" numCol="1" anchor="t" anchorCtr="0" compatLnSpc="1">
                <a:prstTxWarp prst="textNoShape">
                  <a:avLst/>
                </a:prstTxWarp>
              </a:bodyPr>
              <a:lstStyle/>
              <a:p>
                <a:endParaRPr lang="en-US" sz="1351">
                  <a:solidFill>
                    <a:schemeClr val="bg1"/>
                  </a:solidFill>
                </a:endParaRPr>
              </a:p>
            </p:txBody>
          </p:sp>
        </p:grpSp>
        <p:sp>
          <p:nvSpPr>
            <p:cNvPr id="68" name="Title 11">
              <a:extLst>
                <a:ext uri="{FF2B5EF4-FFF2-40B4-BE49-F238E27FC236}">
                  <a16:creationId xmlns:a16="http://schemas.microsoft.com/office/drawing/2014/main" id="{AF22A1C6-27F5-AFB0-22D0-6ED5F0BC7BBE}"/>
                </a:ext>
              </a:extLst>
            </p:cNvPr>
            <p:cNvSpPr txBox="1">
              <a:spLocks/>
            </p:cNvSpPr>
            <p:nvPr/>
          </p:nvSpPr>
          <p:spPr>
            <a:xfrm rot="19241284">
              <a:off x="4517531" y="3173186"/>
              <a:ext cx="1232124" cy="480433"/>
            </a:xfrm>
            <a:prstGeom prst="rect">
              <a:avLst/>
            </a:prstGeom>
          </p:spPr>
          <p:txBody>
            <a:bodyPr vert="horz" lIns="91440" tIns="45720" rIns="91440" bIns="45720" rtlCol="0" anchor="ctr">
              <a:prstTxWarp prst="textArchUp">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800" b="1" dirty="0">
                  <a:solidFill>
                    <a:schemeClr val="bg1"/>
                  </a:solidFill>
                  <a:latin typeface="Arial" panose="020B0604020202020204" pitchFamily="34" charset="0"/>
                  <a:ea typeface="Open Sans" panose="020B0606030504020204" pitchFamily="34" charset="0"/>
                  <a:cs typeface="Arial" panose="020B0604020202020204" pitchFamily="34" charset="0"/>
                </a:rPr>
                <a:t>Member</a:t>
              </a:r>
            </a:p>
          </p:txBody>
        </p:sp>
        <p:sp>
          <p:nvSpPr>
            <p:cNvPr id="70" name="Title 11">
              <a:extLst>
                <a:ext uri="{FF2B5EF4-FFF2-40B4-BE49-F238E27FC236}">
                  <a16:creationId xmlns:a16="http://schemas.microsoft.com/office/drawing/2014/main" id="{D4547301-88B2-F5CD-96D9-B42539E541DD}"/>
                </a:ext>
              </a:extLst>
            </p:cNvPr>
            <p:cNvSpPr txBox="1">
              <a:spLocks/>
            </p:cNvSpPr>
            <p:nvPr/>
          </p:nvSpPr>
          <p:spPr>
            <a:xfrm rot="3509369">
              <a:off x="5821790" y="3372632"/>
              <a:ext cx="1232124" cy="852252"/>
            </a:xfrm>
            <a:prstGeom prst="rect">
              <a:avLst/>
            </a:prstGeom>
          </p:spPr>
          <p:txBody>
            <a:bodyPr vert="horz" lIns="91440" tIns="45720" rIns="91440" bIns="45720" rtlCol="0" anchor="ctr">
              <a:prstTxWarp prst="textArchUp">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800" b="1" dirty="0">
                  <a:solidFill>
                    <a:schemeClr val="bg1"/>
                  </a:solidFill>
                  <a:latin typeface="Arial" panose="020B0604020202020204" pitchFamily="34" charset="0"/>
                  <a:ea typeface="Open Sans" panose="020B0606030504020204" pitchFamily="34" charset="0"/>
                  <a:cs typeface="Arial" panose="020B0604020202020204" pitchFamily="34" charset="0"/>
                </a:rPr>
                <a:t>Provider</a:t>
              </a:r>
            </a:p>
          </p:txBody>
        </p:sp>
        <p:sp>
          <p:nvSpPr>
            <p:cNvPr id="72" name="Title 11">
              <a:extLst>
                <a:ext uri="{FF2B5EF4-FFF2-40B4-BE49-F238E27FC236}">
                  <a16:creationId xmlns:a16="http://schemas.microsoft.com/office/drawing/2014/main" id="{FC2D4D57-6E5B-C6F7-689A-DF10E162AF37}"/>
                </a:ext>
              </a:extLst>
            </p:cNvPr>
            <p:cNvSpPr txBox="1">
              <a:spLocks/>
            </p:cNvSpPr>
            <p:nvPr/>
          </p:nvSpPr>
          <p:spPr>
            <a:xfrm rot="3642056">
              <a:off x="4093699" y="4363348"/>
              <a:ext cx="1647834" cy="1038089"/>
            </a:xfrm>
            <a:prstGeom prst="rect">
              <a:avLst/>
            </a:prstGeom>
          </p:spPr>
          <p:txBody>
            <a:bodyPr vert="horz" lIns="91440" tIns="45720" rIns="91440" bIns="45720" rtlCol="0" anchor="ctr">
              <a:prstTxWarp prst="textArchDown">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800" b="1" dirty="0">
                  <a:solidFill>
                    <a:schemeClr val="bg1"/>
                  </a:solidFill>
                  <a:latin typeface="Arial" panose="020B0604020202020204" pitchFamily="34" charset="0"/>
                  <a:ea typeface="Open Sans" panose="020B0606030504020204" pitchFamily="34" charset="0"/>
                  <a:cs typeface="Arial" panose="020B0604020202020204" pitchFamily="34" charset="0"/>
                </a:rPr>
                <a:t>Health Plan</a:t>
              </a:r>
            </a:p>
          </p:txBody>
        </p:sp>
        <p:sp>
          <p:nvSpPr>
            <p:cNvPr id="73" name="Title 11">
              <a:extLst>
                <a:ext uri="{FF2B5EF4-FFF2-40B4-BE49-F238E27FC236}">
                  <a16:creationId xmlns:a16="http://schemas.microsoft.com/office/drawing/2014/main" id="{719A8DB9-CFA7-8A6E-29A3-CBA7B6A15108}"/>
                </a:ext>
              </a:extLst>
            </p:cNvPr>
            <p:cNvSpPr txBox="1">
              <a:spLocks/>
            </p:cNvSpPr>
            <p:nvPr/>
          </p:nvSpPr>
          <p:spPr>
            <a:xfrm rot="19149783">
              <a:off x="5156864" y="4412331"/>
              <a:ext cx="1940512" cy="1066247"/>
            </a:xfrm>
            <a:prstGeom prst="rect">
              <a:avLst/>
            </a:prstGeom>
          </p:spPr>
          <p:txBody>
            <a:bodyPr vert="horz" lIns="91440" tIns="45720" rIns="91440" bIns="45720" rtlCol="0" anchor="ctr">
              <a:prstTxWarp prst="textArchDown">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800" b="1" dirty="0">
                  <a:solidFill>
                    <a:schemeClr val="bg1"/>
                  </a:solidFill>
                  <a:latin typeface="Arial" panose="020B0604020202020204" pitchFamily="34" charset="0"/>
                  <a:ea typeface="Open Sans" panose="020B0606030504020204" pitchFamily="34" charset="0"/>
                  <a:cs typeface="Arial" panose="020B0604020202020204" pitchFamily="34" charset="0"/>
                </a:rPr>
                <a:t>Group Admin</a:t>
              </a:r>
            </a:p>
          </p:txBody>
        </p:sp>
      </p:grpSp>
      <p:sp>
        <p:nvSpPr>
          <p:cNvPr id="88" name="Freeform 87">
            <a:extLst>
              <a:ext uri="{FF2B5EF4-FFF2-40B4-BE49-F238E27FC236}">
                <a16:creationId xmlns:a16="http://schemas.microsoft.com/office/drawing/2014/main" id="{A0FCD259-0107-1963-F909-27AD5E826565}"/>
              </a:ext>
            </a:extLst>
          </p:cNvPr>
          <p:cNvSpPr/>
          <p:nvPr/>
        </p:nvSpPr>
        <p:spPr>
          <a:xfrm>
            <a:off x="352347" y="1579178"/>
            <a:ext cx="3840480" cy="176980"/>
          </a:xfrm>
          <a:custGeom>
            <a:avLst/>
            <a:gdLst>
              <a:gd name="connsiteX0" fmla="*/ 0 w 4640826"/>
              <a:gd name="connsiteY0" fmla="*/ 176980 h 176980"/>
              <a:gd name="connsiteX1" fmla="*/ 0 w 4640826"/>
              <a:gd name="connsiteY1" fmla="*/ 0 h 176980"/>
              <a:gd name="connsiteX2" fmla="*/ 4640826 w 4640826"/>
              <a:gd name="connsiteY2" fmla="*/ 0 h 176980"/>
            </a:gdLst>
            <a:ahLst/>
            <a:cxnLst>
              <a:cxn ang="0">
                <a:pos x="connsiteX0" y="connsiteY0"/>
              </a:cxn>
              <a:cxn ang="0">
                <a:pos x="connsiteX1" y="connsiteY1"/>
              </a:cxn>
              <a:cxn ang="0">
                <a:pos x="connsiteX2" y="connsiteY2"/>
              </a:cxn>
            </a:cxnLst>
            <a:rect l="l" t="t" r="r" b="b"/>
            <a:pathLst>
              <a:path w="4640826" h="176980">
                <a:moveTo>
                  <a:pt x="0" y="176980"/>
                </a:moveTo>
                <a:lnTo>
                  <a:pt x="0" y="0"/>
                </a:lnTo>
                <a:lnTo>
                  <a:pt x="4640826" y="0"/>
                </a:lnTo>
              </a:path>
            </a:pathLst>
          </a:custGeom>
          <a:noFill/>
          <a:ln w="19050" cap="rnd">
            <a:solidFill>
              <a:schemeClr val="bg1"/>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Freeform 88">
            <a:extLst>
              <a:ext uri="{FF2B5EF4-FFF2-40B4-BE49-F238E27FC236}">
                <a16:creationId xmlns:a16="http://schemas.microsoft.com/office/drawing/2014/main" id="{361464D5-7D41-B0D9-1287-A78F143E2433}"/>
              </a:ext>
            </a:extLst>
          </p:cNvPr>
          <p:cNvSpPr/>
          <p:nvPr/>
        </p:nvSpPr>
        <p:spPr>
          <a:xfrm flipH="1">
            <a:off x="6030535" y="1563898"/>
            <a:ext cx="2926080" cy="182880"/>
          </a:xfrm>
          <a:custGeom>
            <a:avLst/>
            <a:gdLst>
              <a:gd name="connsiteX0" fmla="*/ 0 w 4640826"/>
              <a:gd name="connsiteY0" fmla="*/ 176980 h 176980"/>
              <a:gd name="connsiteX1" fmla="*/ 0 w 4640826"/>
              <a:gd name="connsiteY1" fmla="*/ 0 h 176980"/>
              <a:gd name="connsiteX2" fmla="*/ 4640826 w 4640826"/>
              <a:gd name="connsiteY2" fmla="*/ 0 h 176980"/>
            </a:gdLst>
            <a:ahLst/>
            <a:cxnLst>
              <a:cxn ang="0">
                <a:pos x="connsiteX0" y="connsiteY0"/>
              </a:cxn>
              <a:cxn ang="0">
                <a:pos x="connsiteX1" y="connsiteY1"/>
              </a:cxn>
              <a:cxn ang="0">
                <a:pos x="connsiteX2" y="connsiteY2"/>
              </a:cxn>
            </a:cxnLst>
            <a:rect l="l" t="t" r="r" b="b"/>
            <a:pathLst>
              <a:path w="4640826" h="176980">
                <a:moveTo>
                  <a:pt x="0" y="176980"/>
                </a:moveTo>
                <a:lnTo>
                  <a:pt x="0" y="0"/>
                </a:lnTo>
                <a:lnTo>
                  <a:pt x="4640826" y="0"/>
                </a:lnTo>
              </a:path>
            </a:pathLst>
          </a:custGeom>
          <a:noFill/>
          <a:ln w="19050" cap="rnd">
            <a:solidFill>
              <a:schemeClr val="bg1"/>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a:extLst>
              <a:ext uri="{FF2B5EF4-FFF2-40B4-BE49-F238E27FC236}">
                <a16:creationId xmlns:a16="http://schemas.microsoft.com/office/drawing/2014/main" id="{9E3AB6AF-638C-8625-3454-634E04B5EEF2}"/>
              </a:ext>
            </a:extLst>
          </p:cNvPr>
          <p:cNvSpPr/>
          <p:nvPr/>
        </p:nvSpPr>
        <p:spPr>
          <a:xfrm>
            <a:off x="427763" y="4065033"/>
            <a:ext cx="1645920" cy="457200"/>
          </a:xfrm>
          <a:custGeom>
            <a:avLst/>
            <a:gdLst>
              <a:gd name="connsiteX0" fmla="*/ 0 w 4640826"/>
              <a:gd name="connsiteY0" fmla="*/ 176980 h 176980"/>
              <a:gd name="connsiteX1" fmla="*/ 0 w 4640826"/>
              <a:gd name="connsiteY1" fmla="*/ 0 h 176980"/>
              <a:gd name="connsiteX2" fmla="*/ 4640826 w 4640826"/>
              <a:gd name="connsiteY2" fmla="*/ 0 h 176980"/>
            </a:gdLst>
            <a:ahLst/>
            <a:cxnLst>
              <a:cxn ang="0">
                <a:pos x="connsiteX0" y="connsiteY0"/>
              </a:cxn>
              <a:cxn ang="0">
                <a:pos x="connsiteX1" y="connsiteY1"/>
              </a:cxn>
              <a:cxn ang="0">
                <a:pos x="connsiteX2" y="connsiteY2"/>
              </a:cxn>
            </a:cxnLst>
            <a:rect l="l" t="t" r="r" b="b"/>
            <a:pathLst>
              <a:path w="4640826" h="176980">
                <a:moveTo>
                  <a:pt x="0" y="176980"/>
                </a:moveTo>
                <a:lnTo>
                  <a:pt x="0" y="0"/>
                </a:lnTo>
                <a:lnTo>
                  <a:pt x="4640826" y="0"/>
                </a:lnTo>
              </a:path>
            </a:pathLst>
          </a:custGeom>
          <a:noFill/>
          <a:ln w="19050" cap="rnd">
            <a:solidFill>
              <a:schemeClr val="bg1"/>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0C1D4A68-45F8-FF8D-BEAF-96E41925202E}"/>
              </a:ext>
            </a:extLst>
          </p:cNvPr>
          <p:cNvSpPr/>
          <p:nvPr/>
        </p:nvSpPr>
        <p:spPr>
          <a:xfrm flipH="1">
            <a:off x="8247775" y="4331246"/>
            <a:ext cx="1737360" cy="417017"/>
          </a:xfrm>
          <a:custGeom>
            <a:avLst/>
            <a:gdLst>
              <a:gd name="connsiteX0" fmla="*/ 0 w 4640826"/>
              <a:gd name="connsiteY0" fmla="*/ 176980 h 176980"/>
              <a:gd name="connsiteX1" fmla="*/ 0 w 4640826"/>
              <a:gd name="connsiteY1" fmla="*/ 0 h 176980"/>
              <a:gd name="connsiteX2" fmla="*/ 4640826 w 4640826"/>
              <a:gd name="connsiteY2" fmla="*/ 0 h 176980"/>
            </a:gdLst>
            <a:ahLst/>
            <a:cxnLst>
              <a:cxn ang="0">
                <a:pos x="connsiteX0" y="connsiteY0"/>
              </a:cxn>
              <a:cxn ang="0">
                <a:pos x="connsiteX1" y="connsiteY1"/>
              </a:cxn>
              <a:cxn ang="0">
                <a:pos x="connsiteX2" y="connsiteY2"/>
              </a:cxn>
            </a:cxnLst>
            <a:rect l="l" t="t" r="r" b="b"/>
            <a:pathLst>
              <a:path w="4640826" h="176980">
                <a:moveTo>
                  <a:pt x="0" y="176980"/>
                </a:moveTo>
                <a:lnTo>
                  <a:pt x="0" y="0"/>
                </a:lnTo>
                <a:lnTo>
                  <a:pt x="4640826" y="0"/>
                </a:lnTo>
              </a:path>
            </a:pathLst>
          </a:custGeom>
          <a:noFill/>
          <a:ln w="19050" cap="rnd">
            <a:solidFill>
              <a:schemeClr val="bg1"/>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60671D65-B634-78AE-497B-6F101614F9F2}"/>
              </a:ext>
            </a:extLst>
          </p:cNvPr>
          <p:cNvSpPr txBox="1"/>
          <p:nvPr/>
        </p:nvSpPr>
        <p:spPr>
          <a:xfrm>
            <a:off x="599176" y="1780883"/>
            <a:ext cx="3303888" cy="966034"/>
          </a:xfrm>
          <a:prstGeom prst="rect">
            <a:avLst/>
          </a:prstGeom>
        </p:spPr>
        <p:txBody>
          <a:bodyPr wrap="square" lIns="0" tIns="0" rIns="0" bIns="0" rtlCol="0">
            <a:noAutofit/>
          </a:bodyPr>
          <a:lstStyle/>
          <a:p>
            <a:pPr marL="171450" indent="-171450">
              <a:lnSpc>
                <a:spcPct val="110000"/>
              </a:lnSpc>
              <a:spcBef>
                <a:spcPts val="600"/>
              </a:spcBef>
              <a:buFont typeface="Arial" panose="020B0604020202020204" pitchFamily="34" charset="0"/>
              <a:buChar char="•"/>
              <a:defRPr/>
            </a:pPr>
            <a:r>
              <a:rPr lang="en-US" sz="1400" dirty="0">
                <a:solidFill>
                  <a:schemeClr val="bg1"/>
                </a:solidFill>
                <a:latin typeface="Arial"/>
              </a:rPr>
              <a:t>Variance in platform capabilities</a:t>
            </a:r>
          </a:p>
          <a:p>
            <a:pPr marL="171450" indent="-171450">
              <a:lnSpc>
                <a:spcPct val="110000"/>
              </a:lnSpc>
              <a:spcBef>
                <a:spcPts val="600"/>
              </a:spcBef>
              <a:buFont typeface="Arial" panose="020B0604020202020204" pitchFamily="34" charset="0"/>
              <a:buChar char="•"/>
              <a:defRPr/>
            </a:pPr>
            <a:r>
              <a:rPr lang="en-US" sz="1400" dirty="0">
                <a:solidFill>
                  <a:schemeClr val="bg1"/>
                </a:solidFill>
                <a:latin typeface="Arial"/>
              </a:rPr>
              <a:t>Complexity when incorporating multiple sources (practice management, credentialing, EHRs, etc.)</a:t>
            </a:r>
          </a:p>
        </p:txBody>
      </p:sp>
      <p:sp>
        <p:nvSpPr>
          <p:cNvPr id="31" name="TextBox 30">
            <a:extLst>
              <a:ext uri="{FF2B5EF4-FFF2-40B4-BE49-F238E27FC236}">
                <a16:creationId xmlns:a16="http://schemas.microsoft.com/office/drawing/2014/main" id="{E1C10BCC-CE3D-6C39-5C53-8C511DE34520}"/>
              </a:ext>
            </a:extLst>
          </p:cNvPr>
          <p:cNvSpPr txBox="1"/>
          <p:nvPr/>
        </p:nvSpPr>
        <p:spPr>
          <a:xfrm>
            <a:off x="6369658" y="1706297"/>
            <a:ext cx="2602164" cy="954107"/>
          </a:xfrm>
          <a:prstGeom prst="rect">
            <a:avLst/>
          </a:prstGeom>
        </p:spPr>
        <p:txBody>
          <a:bodyPr wrap="square" lIns="0" tIns="0" rIns="0" bIns="0" rtlCol="0">
            <a:noAutofit/>
          </a:bodyPr>
          <a:lstStyle>
            <a:defPPr>
              <a:defRPr lang="en-US"/>
            </a:defPPr>
            <a:lvl1pPr marL="171450" indent="-171450">
              <a:lnSpc>
                <a:spcPct val="110000"/>
              </a:lnSpc>
              <a:spcBef>
                <a:spcPts val="600"/>
              </a:spcBef>
              <a:buFont typeface="Arial" panose="020B0604020202020204" pitchFamily="34" charset="0"/>
              <a:buChar char="•"/>
              <a:defRPr sz="1200">
                <a:latin typeface="Arial"/>
              </a:defRPr>
            </a:lvl1pPr>
          </a:lstStyle>
          <a:p>
            <a:r>
              <a:rPr lang="en-US" sz="1400" dirty="0">
                <a:solidFill>
                  <a:schemeClr val="bg1"/>
                </a:solidFill>
              </a:rPr>
              <a:t>Integration limitations with input and output capabilities</a:t>
            </a:r>
          </a:p>
          <a:p>
            <a:r>
              <a:rPr lang="en-US" sz="1400" dirty="0">
                <a:solidFill>
                  <a:schemeClr val="bg1"/>
                </a:solidFill>
                <a:latin typeface="Arial"/>
              </a:rPr>
              <a:t>Conflicting data requiring manual reconciliation</a:t>
            </a:r>
          </a:p>
        </p:txBody>
      </p:sp>
      <p:sp>
        <p:nvSpPr>
          <p:cNvPr id="32" name="TextBox 31">
            <a:extLst>
              <a:ext uri="{FF2B5EF4-FFF2-40B4-BE49-F238E27FC236}">
                <a16:creationId xmlns:a16="http://schemas.microsoft.com/office/drawing/2014/main" id="{57D8AEBD-BBFA-B115-D5CE-FD523C7EC116}"/>
              </a:ext>
            </a:extLst>
          </p:cNvPr>
          <p:cNvSpPr txBox="1"/>
          <p:nvPr/>
        </p:nvSpPr>
        <p:spPr>
          <a:xfrm>
            <a:off x="526266" y="4650528"/>
            <a:ext cx="2901725" cy="1279076"/>
          </a:xfrm>
          <a:prstGeom prst="rect">
            <a:avLst/>
          </a:prstGeom>
        </p:spPr>
        <p:txBody>
          <a:bodyPr wrap="square" lIns="0" tIns="0" rIns="0" bIns="0" rtlCol="0">
            <a:noAutofit/>
          </a:bodyPr>
          <a:lstStyle>
            <a:defPPr>
              <a:defRPr lang="en-US"/>
            </a:defPPr>
            <a:lvl1pPr marL="171450" indent="-171450">
              <a:lnSpc>
                <a:spcPct val="110000"/>
              </a:lnSpc>
              <a:spcBef>
                <a:spcPts val="600"/>
              </a:spcBef>
              <a:buFont typeface="Arial" panose="020B0604020202020204" pitchFamily="34" charset="0"/>
              <a:buChar char="•"/>
              <a:defRPr sz="1200">
                <a:latin typeface="Arial"/>
              </a:defRPr>
            </a:lvl1pPr>
          </a:lstStyle>
          <a:p>
            <a:r>
              <a:rPr lang="en-US" sz="1400" dirty="0">
                <a:solidFill>
                  <a:schemeClr val="bg1"/>
                </a:solidFill>
              </a:rPr>
              <a:t>Manual entry + duplicative and non-standard data requests</a:t>
            </a:r>
          </a:p>
          <a:p>
            <a:r>
              <a:rPr lang="en-US" sz="1400" dirty="0">
                <a:solidFill>
                  <a:schemeClr val="bg1"/>
                </a:solidFill>
              </a:rPr>
              <a:t>Exhaustive data requests to support various use cases</a:t>
            </a:r>
          </a:p>
        </p:txBody>
      </p:sp>
      <p:sp>
        <p:nvSpPr>
          <p:cNvPr id="35" name="TextBox 34">
            <a:extLst>
              <a:ext uri="{FF2B5EF4-FFF2-40B4-BE49-F238E27FC236}">
                <a16:creationId xmlns:a16="http://schemas.microsoft.com/office/drawing/2014/main" id="{6EE4ED0E-C543-6AAB-9FC8-3A7C0ACFAA55}"/>
              </a:ext>
            </a:extLst>
          </p:cNvPr>
          <p:cNvSpPr txBox="1"/>
          <p:nvPr/>
        </p:nvSpPr>
        <p:spPr>
          <a:xfrm>
            <a:off x="7061876" y="4896998"/>
            <a:ext cx="3453499" cy="1169551"/>
          </a:xfrm>
          <a:prstGeom prst="rect">
            <a:avLst/>
          </a:prstGeom>
        </p:spPr>
        <p:txBody>
          <a:bodyPr wrap="square" lIns="0" tIns="0" rIns="0" bIns="0" rtlCol="0">
            <a:noAutofit/>
          </a:bodyPr>
          <a:lstStyle>
            <a:defPPr>
              <a:defRPr lang="en-US"/>
            </a:defPPr>
            <a:lvl1pPr marL="171450" indent="-171450">
              <a:lnSpc>
                <a:spcPct val="110000"/>
              </a:lnSpc>
              <a:spcBef>
                <a:spcPts val="600"/>
              </a:spcBef>
              <a:buFont typeface="Arial" panose="020B0604020202020204" pitchFamily="34" charset="0"/>
              <a:buChar char="•"/>
              <a:defRPr sz="1200">
                <a:latin typeface="Arial"/>
              </a:defRPr>
            </a:lvl1pPr>
          </a:lstStyle>
          <a:p>
            <a:r>
              <a:rPr lang="en-US" sz="1400" dirty="0">
                <a:solidFill>
                  <a:schemeClr val="bg1"/>
                </a:solidFill>
              </a:rPr>
              <a:t>Administrative work to manage documents and supply timely data</a:t>
            </a:r>
          </a:p>
          <a:p>
            <a:r>
              <a:rPr lang="en-US" sz="1400" dirty="0">
                <a:solidFill>
                  <a:schemeClr val="bg1"/>
                </a:solidFill>
              </a:rPr>
              <a:t>Lack of understanding around  downstream application of data</a:t>
            </a:r>
          </a:p>
          <a:p>
            <a:endParaRPr lang="en-US" sz="1400" dirty="0">
              <a:solidFill>
                <a:schemeClr val="bg1"/>
              </a:solidFill>
            </a:endParaRPr>
          </a:p>
          <a:p>
            <a:endParaRPr lang="en-US" sz="1400" dirty="0">
              <a:solidFill>
                <a:schemeClr val="bg1"/>
              </a:solidFill>
            </a:endParaRPr>
          </a:p>
        </p:txBody>
      </p:sp>
      <p:sp>
        <p:nvSpPr>
          <p:cNvPr id="3" name="Freeform 9">
            <a:extLst>
              <a:ext uri="{FF2B5EF4-FFF2-40B4-BE49-F238E27FC236}">
                <a16:creationId xmlns:a16="http://schemas.microsoft.com/office/drawing/2014/main" id="{155E3ED4-72B1-9B3C-85F1-D99FCFFA7B8A}"/>
              </a:ext>
            </a:extLst>
          </p:cNvPr>
          <p:cNvSpPr>
            <a:spLocks noEditPoints="1"/>
          </p:cNvSpPr>
          <p:nvPr/>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TextBox 33">
            <a:extLst>
              <a:ext uri="{FF2B5EF4-FFF2-40B4-BE49-F238E27FC236}">
                <a16:creationId xmlns:a16="http://schemas.microsoft.com/office/drawing/2014/main" id="{462FBD2F-49C5-E1F2-F969-D20451417AD6}"/>
              </a:ext>
            </a:extLst>
          </p:cNvPr>
          <p:cNvSpPr txBox="1"/>
          <p:nvPr/>
        </p:nvSpPr>
        <p:spPr>
          <a:xfrm>
            <a:off x="9657055" y="1655338"/>
            <a:ext cx="2210425" cy="784830"/>
          </a:xfrm>
          <a:prstGeom prst="rect">
            <a:avLst/>
          </a:prstGeom>
          <a:noFill/>
          <a:effectLst>
            <a:outerShdw blurRad="50800" dist="38100" dir="8100000" algn="tr" rotWithShape="0">
              <a:prstClr val="black">
                <a:alpha val="40000"/>
              </a:prstClr>
            </a:outerShdw>
          </a:effectLst>
        </p:spPr>
        <p:txBody>
          <a:bodyPr wrap="square" rtlCol="0">
            <a:spAutoFit/>
          </a:bodyPr>
          <a:lstStyle/>
          <a:p>
            <a:r>
              <a:rPr lang="en-US" sz="4500" b="1" dirty="0">
                <a:solidFill>
                  <a:schemeClr val="bg1"/>
                </a:solidFill>
              </a:rPr>
              <a:t>$191B+</a:t>
            </a:r>
          </a:p>
        </p:txBody>
      </p:sp>
      <p:sp>
        <p:nvSpPr>
          <p:cNvPr id="36" name="Google Shape;22;p1">
            <a:extLst>
              <a:ext uri="{FF2B5EF4-FFF2-40B4-BE49-F238E27FC236}">
                <a16:creationId xmlns:a16="http://schemas.microsoft.com/office/drawing/2014/main" id="{FF290169-DD67-B61E-C6EB-B062BDA5C92A}"/>
              </a:ext>
            </a:extLst>
          </p:cNvPr>
          <p:cNvSpPr txBox="1"/>
          <p:nvPr/>
        </p:nvSpPr>
        <p:spPr>
          <a:xfrm>
            <a:off x="9458395" y="2545487"/>
            <a:ext cx="2607744" cy="1039698"/>
          </a:xfrm>
          <a:prstGeom prst="rect">
            <a:avLst/>
          </a:prstGeom>
        </p:spPr>
        <p:txBody>
          <a:bodyPr wrap="square" lIns="0" tIns="0" rIns="0" bIns="0">
            <a:noAutofit/>
          </a:bodyPr>
          <a:lstStyle>
            <a:defPPr>
              <a:defRPr lang="en-US"/>
            </a:defPPr>
            <a:lvl1pPr>
              <a:lnSpc>
                <a:spcPct val="130000"/>
              </a:lnSpc>
              <a:defRPr sz="1200">
                <a:solidFill>
                  <a:schemeClr val="tx1">
                    <a:lumMod val="50000"/>
                    <a:lumOff val="50000"/>
                  </a:schemeClr>
                </a:solidFill>
                <a:ea typeface="Open Sans Light" panose="020B0306030504020204" pitchFamily="34" charset="0"/>
                <a:cs typeface="Segoe UI" panose="020B0502040204020203" pitchFamily="34" charset="0"/>
              </a:defRPr>
            </a:lvl1pPr>
          </a:lstStyle>
          <a:p>
            <a:pPr marL="0" marR="0" lvl="0" indent="0" algn="ctr" defTabSz="914400" rtl="0" eaLnBrk="1" fontAlgn="auto" latinLnBrk="0" hangingPunct="1">
              <a:lnSpc>
                <a:spcPts val="1800"/>
              </a:lnSpc>
              <a:spcBef>
                <a:spcPts val="600"/>
              </a:spcBef>
              <a:spcAft>
                <a:spcPts val="6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t>Savings potential </a:t>
            </a:r>
            <a:b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br>
            <a: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t>through insurer-clinician collaboration and </a:t>
            </a:r>
            <a:b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br>
            <a: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t>data interoperability</a:t>
            </a:r>
            <a:r>
              <a:rPr kumimoji="0" lang="en-US" sz="1600" b="0" i="0" u="none" strike="noStrike" kern="1200" cap="none" spc="0" normalizeH="0" baseline="30000" noProof="0" dirty="0">
                <a:ln>
                  <a:noFill/>
                </a:ln>
                <a:solidFill>
                  <a:prstClr val="white"/>
                </a:solidFill>
                <a:effectLst/>
                <a:uLnTx/>
                <a:uFillTx/>
                <a:latin typeface="Arial"/>
                <a:ea typeface="Open Sans Light" panose="020B0306030504020204" pitchFamily="34" charset="0"/>
                <a:cs typeface="Arial"/>
              </a:rPr>
              <a:t>1</a:t>
            </a:r>
            <a:r>
              <a:rPr kumimoji="0" lang="en-US" sz="1600" b="0" i="0" u="none" strike="noStrike" kern="1200" cap="none" spc="0" normalizeH="0" baseline="0" noProof="0" dirty="0">
                <a:ln>
                  <a:noFill/>
                </a:ln>
                <a:solidFill>
                  <a:prstClr val="white"/>
                </a:solidFill>
                <a:effectLst/>
                <a:uLnTx/>
                <a:uFillTx/>
                <a:latin typeface="Arial"/>
                <a:ea typeface="Open Sans Light" panose="020B0306030504020204" pitchFamily="34" charset="0"/>
                <a:cs typeface="Arial"/>
              </a:rPr>
              <a:t> </a:t>
            </a:r>
            <a:endParaRPr kumimoji="0" lang="en-US" sz="1600" b="0" i="0" u="none" kern="1200" cap="none" spc="0" normalizeH="0" baseline="30000" noProof="0" dirty="0">
              <a:ln>
                <a:noFill/>
              </a:ln>
              <a:solidFill>
                <a:prstClr val="white"/>
              </a:solidFill>
              <a:effectLst/>
              <a:uLnTx/>
              <a:uFillTx/>
              <a:latin typeface="Arial"/>
              <a:ea typeface="Open Sans Light" panose="020B0306030504020204" pitchFamily="34" charset="0"/>
              <a:cs typeface="Arial"/>
            </a:endParaRPr>
          </a:p>
        </p:txBody>
      </p:sp>
      <p:sp>
        <p:nvSpPr>
          <p:cNvPr id="39" name="TextBox 38">
            <a:extLst>
              <a:ext uri="{FF2B5EF4-FFF2-40B4-BE49-F238E27FC236}">
                <a16:creationId xmlns:a16="http://schemas.microsoft.com/office/drawing/2014/main" id="{164917AF-4FD3-7D5F-5DEE-55E2E239945E}"/>
              </a:ext>
            </a:extLst>
          </p:cNvPr>
          <p:cNvSpPr txBox="1"/>
          <p:nvPr/>
        </p:nvSpPr>
        <p:spPr>
          <a:xfrm>
            <a:off x="5613646" y="6546037"/>
            <a:ext cx="6117996" cy="215444"/>
          </a:xfrm>
          <a:prstGeom prst="rect">
            <a:avLst/>
          </a:prstGeom>
          <a:noFill/>
        </p:spPr>
        <p:txBody>
          <a:bodyPr wrap="square">
            <a:spAutoFit/>
          </a:bodyPr>
          <a:lstStyle/>
          <a:p>
            <a:r>
              <a:rPr lang="en-US" sz="800" dirty="0">
                <a:solidFill>
                  <a:schemeClr val="bg1">
                    <a:lumMod val="85000"/>
                  </a:schemeClr>
                </a:solidFill>
              </a:rPr>
              <a:t>1 www.fiercehealthcare.com/hospitals-health-systems/up-to-935b-u-s-healthcare-spending-wasted-humana-says</a:t>
            </a:r>
          </a:p>
        </p:txBody>
      </p:sp>
    </p:spTree>
    <p:extLst>
      <p:ext uri="{BB962C8B-B14F-4D97-AF65-F5344CB8AC3E}">
        <p14:creationId xmlns:p14="http://schemas.microsoft.com/office/powerpoint/2010/main" val="256608198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SLIDO_APP_VERSION" val="1.13.0.5724"/>
  <p:tag name="SLIDO_PRESENTATION_ID" val="96155811-7eaa-47da-9b58-2f2876a3121d"/>
  <p:tag name="SLIDO_EVENT_UUID" val="4b1e62cc-6aa1-4ab8-8dfd-556ae986f8cb"/>
  <p:tag name="SLIDO_EVENT_SECTION_UUID" val="1e5f8c1f-ace8-4a3f-87bc-c0d971e312f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AQH Office Colors">
      <a:dk1>
        <a:srgbClr val="323E48"/>
      </a:dk1>
      <a:lt1>
        <a:sysClr val="window" lastClr="FFFFFF"/>
      </a:lt1>
      <a:dk2>
        <a:srgbClr val="3E418C"/>
      </a:dk2>
      <a:lt2>
        <a:srgbClr val="EBEBEB"/>
      </a:lt2>
      <a:accent1>
        <a:srgbClr val="005091"/>
      </a:accent1>
      <a:accent2>
        <a:srgbClr val="00A6E0"/>
      </a:accent2>
      <a:accent3>
        <a:srgbClr val="3E418C"/>
      </a:accent3>
      <a:accent4>
        <a:srgbClr val="0072CD"/>
      </a:accent4>
      <a:accent5>
        <a:srgbClr val="62C6A5"/>
      </a:accent5>
      <a:accent6>
        <a:srgbClr val="22305B"/>
      </a:accent6>
      <a:hlink>
        <a:srgbClr val="003356"/>
      </a:hlink>
      <a:folHlink>
        <a:srgbClr val="0DACE5"/>
      </a:folHlink>
    </a:clrScheme>
    <a:fontScheme name="CAQH Offic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Blue">
      <a:srgbClr val="005091"/>
    </a:custClr>
    <a:custClr name="Medium Blue">
      <a:srgbClr val="00A6E0"/>
    </a:custClr>
    <a:custClr name="Purple">
      <a:srgbClr val="3E418C"/>
    </a:custClr>
    <a:custClr name="Blue">
      <a:srgbClr val="0072CD"/>
    </a:custClr>
    <a:custClr name="Light Green">
      <a:srgbClr val="62C6A5"/>
    </a:custClr>
    <a:custClr name="Dark Purple">
      <a:srgbClr val="22305B"/>
    </a:custClr>
    <a:custClr name="Dark Teal">
      <a:srgbClr val="007A8B"/>
    </a:custClr>
    <a:custClr name="Light Blue">
      <a:srgbClr val="00D9FF"/>
    </a:custClr>
    <a:custClr name="Teal">
      <a:srgbClr val="0097AB"/>
    </a:custClr>
    <a:custClr name="Medium Green">
      <a:srgbClr val="00B498"/>
    </a:custClr>
    <a:custClr name="Light Purple">
      <a:srgbClr val="8291FF"/>
    </a:custClr>
    <a:custClr name="Dark Green">
      <a:srgbClr val="034C55"/>
    </a:custClr>
    <a:custClr name="Medium Purple">
      <a:srgbClr val="4A5BB6"/>
    </a:custClr>
    <a:custClr name="Green">
      <a:srgbClr val="018577"/>
    </a:custClr>
  </a:custClrLst>
  <a:extLst>
    <a:ext uri="{05A4C25C-085E-4340-85A3-A5531E510DB2}">
      <thm15:themeFamily xmlns:thm15="http://schemas.microsoft.com/office/thememl/2012/main" name="Presentation18" id="{FF7164F5-7ACA-9D4F-B419-7BA5910D8094}" vid="{54D29376-34B6-3D43-9CE6-AB79924F2547}"/>
    </a:ext>
  </a:extLst>
</a:theme>
</file>

<file path=ppt/theme/theme2.xml><?xml version="1.0" encoding="utf-8"?>
<a:theme xmlns:a="http://schemas.openxmlformats.org/drawingml/2006/main" name="5_Office Theme">
  <a:themeElements>
    <a:clrScheme name="CAQH Office Colors">
      <a:dk1>
        <a:srgbClr val="323E48"/>
      </a:dk1>
      <a:lt1>
        <a:sysClr val="window" lastClr="FFFFFF"/>
      </a:lt1>
      <a:dk2>
        <a:srgbClr val="3E418C"/>
      </a:dk2>
      <a:lt2>
        <a:srgbClr val="EBEBEB"/>
      </a:lt2>
      <a:accent1>
        <a:srgbClr val="005091"/>
      </a:accent1>
      <a:accent2>
        <a:srgbClr val="00A6E0"/>
      </a:accent2>
      <a:accent3>
        <a:srgbClr val="3E418C"/>
      </a:accent3>
      <a:accent4>
        <a:srgbClr val="0072CD"/>
      </a:accent4>
      <a:accent5>
        <a:srgbClr val="62C6A5"/>
      </a:accent5>
      <a:accent6>
        <a:srgbClr val="22305B"/>
      </a:accent6>
      <a:hlink>
        <a:srgbClr val="003356"/>
      </a:hlink>
      <a:folHlink>
        <a:srgbClr val="0DACE5"/>
      </a:folHlink>
    </a:clrScheme>
    <a:fontScheme name="CAQH Offic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Blue">
      <a:srgbClr val="005091"/>
    </a:custClr>
    <a:custClr name="Medium Blue">
      <a:srgbClr val="00A6E0"/>
    </a:custClr>
    <a:custClr name="Purple">
      <a:srgbClr val="3E418C"/>
    </a:custClr>
    <a:custClr name="Blue">
      <a:srgbClr val="0072CD"/>
    </a:custClr>
    <a:custClr name="Light Green">
      <a:srgbClr val="62C6A5"/>
    </a:custClr>
    <a:custClr name="Dark Purple">
      <a:srgbClr val="22305B"/>
    </a:custClr>
    <a:custClr name="Dark Teal">
      <a:srgbClr val="007A8B"/>
    </a:custClr>
    <a:custClr name="Light Blue">
      <a:srgbClr val="00D9FF"/>
    </a:custClr>
    <a:custClr name="Teal">
      <a:srgbClr val="0097AB"/>
    </a:custClr>
    <a:custClr name="Medium Green">
      <a:srgbClr val="00B498"/>
    </a:custClr>
    <a:custClr name="Light Purple">
      <a:srgbClr val="8291FF"/>
    </a:custClr>
    <a:custClr name="Dark Green">
      <a:srgbClr val="034C55"/>
    </a:custClr>
    <a:custClr name="Medium Purple">
      <a:srgbClr val="4A5BB6"/>
    </a:custClr>
    <a:custClr name="Green">
      <a:srgbClr val="018577"/>
    </a:custClr>
  </a:custClrLst>
  <a:extLst>
    <a:ext uri="{05A4C25C-085E-4340-85A3-A5531E510DB2}">
      <thm15:themeFamily xmlns:thm15="http://schemas.microsoft.com/office/thememl/2012/main" name="Presentation18" id="{FF7164F5-7ACA-9D4F-B419-7BA5910D8094}" vid="{54D29376-34B6-3D43-9CE6-AB79924F254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217e21ae-3ab4-4c0c-944a-6aabb657303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FC9A5014EBF2D468FC4CC0384A4E0C2" ma:contentTypeVersion="11" ma:contentTypeDescription="Create a new document." ma:contentTypeScope="" ma:versionID="f9b539da0edd141fb481912629025408">
  <xsd:schema xmlns:xsd="http://www.w3.org/2001/XMLSchema" xmlns:xs="http://www.w3.org/2001/XMLSchema" xmlns:p="http://schemas.microsoft.com/office/2006/metadata/properties" xmlns:ns3="217e21ae-3ab4-4c0c-944a-6aabb6573030" targetNamespace="http://schemas.microsoft.com/office/2006/metadata/properties" ma:root="true" ma:fieldsID="fdd7cdb7be2fcdd9d302b35884ccafad" ns3:_="">
    <xsd:import namespace="217e21ae-3ab4-4c0c-944a-6aabb6573030"/>
    <xsd:element name="properties">
      <xsd:complexType>
        <xsd:sequence>
          <xsd:element name="documentManagement">
            <xsd:complexType>
              <xsd:all>
                <xsd:element ref="ns3:MediaServiceDateTaken" minOccurs="0"/>
                <xsd:element ref="ns3:_activity" minOccurs="0"/>
                <xsd:element ref="ns3:MediaServiceMetadata" minOccurs="0"/>
                <xsd:element ref="ns3:MediaServiceFastMetadata" minOccurs="0"/>
                <xsd:element ref="ns3:MediaServiceSearchProperties" minOccurs="0"/>
                <xsd:element ref="ns3:MediaServiceObjectDetectorVersions" minOccurs="0"/>
                <xsd:element ref="ns3:MediaServiceSystemTags" minOccurs="0"/>
                <xsd:element ref="ns3:MediaServiceGenerationTime" minOccurs="0"/>
                <xsd:element ref="ns3:MediaServiceEventHashCode" minOccurs="0"/>
                <xsd:element ref="ns3:MediaServiceOCR"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7e21ae-3ab4-4c0c-944a-6aabb6573030"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_activity" ma:index="9" nillable="true" ma:displayName="_activity" ma:hidden="true" ma:internalName="_activity">
      <xsd:simpleType>
        <xsd:restriction base="dms:Note"/>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SystemTags" ma:index="14" nillable="true" ma:displayName="MediaServiceSystemTags" ma:hidden="true" ma:internalName="MediaServiceSystemTags" ma:readOnly="true">
      <xsd:simpleType>
        <xsd:restriction base="dms:Note"/>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1F2BE6-4F01-4A45-82F3-E675CC508944}">
  <ds:schemaRefs>
    <ds:schemaRef ds:uri="http://schemas.microsoft.com/sharepoint/v3/contenttype/forms"/>
  </ds:schemaRefs>
</ds:datastoreItem>
</file>

<file path=customXml/itemProps2.xml><?xml version="1.0" encoding="utf-8"?>
<ds:datastoreItem xmlns:ds="http://schemas.openxmlformats.org/officeDocument/2006/customXml" ds:itemID="{E13AD1BE-F00D-47EA-A4EF-751B0F0313A9}">
  <ds:schemaRefs>
    <ds:schemaRef ds:uri="http://schemas.microsoft.com/office/2006/metadata/properties"/>
    <ds:schemaRef ds:uri="http://schemas.microsoft.com/office/2006/documentManagement/types"/>
    <ds:schemaRef ds:uri="http://schemas.openxmlformats.org/package/2006/metadata/core-properties"/>
    <ds:schemaRef ds:uri="217e21ae-3ab4-4c0c-944a-6aabb6573030"/>
    <ds:schemaRef ds:uri="http://purl.org/dc/dcmitype/"/>
    <ds:schemaRef ds:uri="http://www.w3.org/XML/1998/namespace"/>
    <ds:schemaRef ds:uri="http://purl.org/dc/elements/1.1/"/>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D01ECE23-85D6-459C-A7B7-ADE477CDA3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7e21ae-3ab4-4c0c-944a-6aabb65730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34</TotalTime>
  <Words>1449</Words>
  <Application>Microsoft Office PowerPoint</Application>
  <PresentationFormat>Widescreen</PresentationFormat>
  <Paragraphs>177</Paragraphs>
  <Slides>13</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ptos</vt:lpstr>
      <vt:lpstr>Arial</vt:lpstr>
      <vt:lpstr>Calibri</vt:lpstr>
      <vt:lpstr>Roboto</vt:lpstr>
      <vt:lpstr>Times New Roman</vt:lpstr>
      <vt:lpstr>Volte Semibold</vt:lpstr>
      <vt:lpstr>1_Office Theme</vt:lpstr>
      <vt:lpstr>5_Office Theme</vt:lpstr>
      <vt:lpstr>think-cell Slide</vt:lpstr>
      <vt:lpstr>PowerPoint Presentation</vt:lpstr>
      <vt:lpstr>PowerPoint Presentation</vt:lpstr>
      <vt:lpstr>Healthcare administration costs continue to skyrocket</vt:lpstr>
      <vt:lpstr>PowerPoint Presentation</vt:lpstr>
      <vt:lpstr>Provider accessibility challenges  remain a key concern for patients</vt:lpstr>
      <vt:lpstr>Workforce challenges may impact  the delivery of quality healthcare</vt:lpstr>
      <vt:lpstr>Credentialing is redundant and takes ~90-120 days  leading to additional patient and provider access concerns </vt:lpstr>
      <vt:lpstr>PowerPoint Presentation</vt:lpstr>
      <vt:lpstr>Interoperability &amp; Data Quality: A Systemic Issue</vt:lpstr>
      <vt:lpstr>Is Data Exchange the Key to Progress? </vt:lpstr>
      <vt:lpstr>Questions &amp;  Open Discussion</vt:lpstr>
      <vt:lpstr>Industry Call to Action</vt:lpstr>
      <vt:lpstr>The CAQH Annual Index Re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al Groups Roster Playbook</dc:title>
  <dc:creator>Ron urwongse</dc:creator>
  <cp:lastModifiedBy>Jennifer Lux</cp:lastModifiedBy>
  <cp:revision>17</cp:revision>
  <dcterms:created xsi:type="dcterms:W3CDTF">2023-08-14T19:41:39Z</dcterms:created>
  <dcterms:modified xsi:type="dcterms:W3CDTF">2024-12-09T22:5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C9A5014EBF2D468FC4CC0384A4E0C2</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bool>false</vt:bool>
  </property>
  <property fmtid="{D5CDD505-2E9C-101B-9397-08002B2CF9AE}" pid="9" name="SharedWithUsers">
    <vt:lpwstr>23;#Claire Eckland</vt:lpwstr>
  </property>
  <property fmtid="{D5CDD505-2E9C-101B-9397-08002B2CF9AE}" pid="10" name="MediaServiceImageTags">
    <vt:lpwstr/>
  </property>
  <property fmtid="{D5CDD505-2E9C-101B-9397-08002B2CF9AE}" pid="11" name="_activity">
    <vt:lpwstr>{"FileActivityType":"11","FileActivityTimeStamp":"2024-01-08T20:45:46.983Z","FileActivityUsersOnPage":[{"DisplayName":"Elizabeth Nazerian","Id":"enazerian@caqh.org"},{"DisplayName":"Carolyn McKinney","Id":"cmckinney@caqh.org"}],"FileActivityNavigationId":null}</vt:lpwstr>
  </property>
</Properties>
</file>